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6.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7.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8.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9.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11.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12.xml" ContentType="application/vnd.openxmlformats-officedocument.theme+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3.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4" r:id="rId4"/>
    <p:sldMasterId id="2147484229" r:id="rId5"/>
    <p:sldMasterId id="2147484030" r:id="rId6"/>
    <p:sldMasterId id="2147492480" r:id="rId7"/>
    <p:sldMasterId id="2147492818" r:id="rId8"/>
    <p:sldMasterId id="2147493016" r:id="rId9"/>
    <p:sldMasterId id="2147493220" r:id="rId10"/>
    <p:sldMasterId id="2147493316" r:id="rId11"/>
    <p:sldMasterId id="2147493393" r:id="rId12"/>
    <p:sldMasterId id="2147493411" r:id="rId13"/>
    <p:sldMasterId id="2147493441" r:id="rId14"/>
    <p:sldMasterId id="2147493469" r:id="rId15"/>
    <p:sldMasterId id="2147493511" r:id="rId16"/>
    <p:sldMasterId id="2147493547" r:id="rId17"/>
  </p:sldMasterIdLst>
  <p:notesMasterIdLst>
    <p:notesMasterId r:id="rId37"/>
  </p:notesMasterIdLst>
  <p:handoutMasterIdLst>
    <p:handoutMasterId r:id="rId38"/>
  </p:handoutMasterIdLst>
  <p:sldIdLst>
    <p:sldId id="2147469864" r:id="rId18"/>
    <p:sldId id="2147469829" r:id="rId19"/>
    <p:sldId id="2147469841" r:id="rId20"/>
    <p:sldId id="2147469865" r:id="rId21"/>
    <p:sldId id="2147469869" r:id="rId22"/>
    <p:sldId id="2147469877" r:id="rId23"/>
    <p:sldId id="2147469900" r:id="rId24"/>
    <p:sldId id="2147469901" r:id="rId25"/>
    <p:sldId id="2147469902" r:id="rId26"/>
    <p:sldId id="2147469891" r:id="rId27"/>
    <p:sldId id="2147469893" r:id="rId28"/>
    <p:sldId id="2147469903" r:id="rId29"/>
    <p:sldId id="2147469904" r:id="rId30"/>
    <p:sldId id="2147469898" r:id="rId31"/>
    <p:sldId id="2076137535" r:id="rId32"/>
    <p:sldId id="2147469884" r:id="rId33"/>
    <p:sldId id="2147469883" r:id="rId34"/>
    <p:sldId id="2147469882" r:id="rId35"/>
    <p:sldId id="2147469896" r:id="rId36"/>
  </p:sldIdLst>
  <p:sldSz cx="12192000" cy="6858000"/>
  <p:notesSz cx="6858000" cy="293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1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F1DF"/>
    <a:srgbClr val="0078D4"/>
    <a:srgbClr val="B2B2B2"/>
    <a:srgbClr val="E5E5E5"/>
    <a:srgbClr val="1482D7"/>
    <a:srgbClr val="1885D8"/>
    <a:srgbClr val="DD3C00"/>
    <a:srgbClr val="FFFFFF"/>
    <a:srgbClr val="B82619"/>
    <a:srgbClr val="B9B9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33A3AD0-963C-4A32-974C-0B1A974E7618}" v="111" dt="2022-07-05T08:38:59.90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67" autoAdjust="0"/>
    <p:restoredTop sz="87923" autoAdjust="0"/>
  </p:normalViewPr>
  <p:slideViewPr>
    <p:cSldViewPr snapToGrid="0">
      <p:cViewPr varScale="1">
        <p:scale>
          <a:sx n="135" d="100"/>
          <a:sy n="135" d="100"/>
        </p:scale>
        <p:origin x="144" y="222"/>
      </p:cViewPr>
      <p:guideLst/>
    </p:cSldViewPr>
  </p:slideViewPr>
  <p:outlineViewPr>
    <p:cViewPr>
      <p:scale>
        <a:sx n="33" d="100"/>
        <a:sy n="33" d="100"/>
      </p:scale>
      <p:origin x="0" y="-1776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2270" y="13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commentAuthors" Target="commentAuthors.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3.xml"/><Relationship Id="rId29" Type="http://schemas.openxmlformats.org/officeDocument/2006/relationships/slide" Target="slides/slide12.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A7C56D-1E04-44A7-B5A5-F2C9CAD39DA1}"/>
              </a:ext>
            </a:extLst>
          </p:cNvPr>
          <p:cNvSpPr>
            <a:spLocks noGrp="1"/>
          </p:cNvSpPr>
          <p:nvPr>
            <p:ph type="hdr" sz="quarter"/>
          </p:nvPr>
        </p:nvSpPr>
        <p:spPr>
          <a:xfrm>
            <a:off x="0" y="0"/>
            <a:ext cx="2971800" cy="14763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0965004-8BEA-4F7D-81A8-CCB4B7568C64}"/>
              </a:ext>
            </a:extLst>
          </p:cNvPr>
          <p:cNvSpPr>
            <a:spLocks noGrp="1"/>
          </p:cNvSpPr>
          <p:nvPr>
            <p:ph type="dt" sz="quarter" idx="1"/>
          </p:nvPr>
        </p:nvSpPr>
        <p:spPr>
          <a:xfrm>
            <a:off x="3884613" y="0"/>
            <a:ext cx="2971800" cy="147638"/>
          </a:xfrm>
          <a:prstGeom prst="rect">
            <a:avLst/>
          </a:prstGeom>
        </p:spPr>
        <p:txBody>
          <a:bodyPr vert="horz" lIns="91440" tIns="45720" rIns="91440" bIns="45720" rtlCol="0"/>
          <a:lstStyle>
            <a:lvl1pPr algn="r">
              <a:defRPr sz="1200"/>
            </a:lvl1pPr>
          </a:lstStyle>
          <a:p>
            <a:fld id="{CE73B402-5B41-4304-9F9F-3BB29D09E7C0}" type="datetimeFigureOut">
              <a:rPr lang="en-US" smtClean="0"/>
              <a:t>7/5/2022</a:t>
            </a:fld>
            <a:endParaRPr lang="en-US" dirty="0"/>
          </a:p>
        </p:txBody>
      </p:sp>
      <p:sp>
        <p:nvSpPr>
          <p:cNvPr id="4" name="Footer Placeholder 3">
            <a:extLst>
              <a:ext uri="{FF2B5EF4-FFF2-40B4-BE49-F238E27FC236}">
                <a16:creationId xmlns:a16="http://schemas.microsoft.com/office/drawing/2014/main" id="{00D0244A-ACB5-4B69-80F7-479DD320A183}"/>
              </a:ext>
            </a:extLst>
          </p:cNvPr>
          <p:cNvSpPr>
            <a:spLocks noGrp="1"/>
          </p:cNvSpPr>
          <p:nvPr>
            <p:ph type="ftr" sz="quarter" idx="2"/>
          </p:nvPr>
        </p:nvSpPr>
        <p:spPr>
          <a:xfrm>
            <a:off x="0" y="2786063"/>
            <a:ext cx="2971800" cy="14763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82059ED-A391-42C7-A1E5-DBBE5FEFE332}"/>
              </a:ext>
            </a:extLst>
          </p:cNvPr>
          <p:cNvSpPr>
            <a:spLocks noGrp="1"/>
          </p:cNvSpPr>
          <p:nvPr>
            <p:ph type="sldNum" sz="quarter" idx="3"/>
          </p:nvPr>
        </p:nvSpPr>
        <p:spPr>
          <a:xfrm>
            <a:off x="3884613" y="2786063"/>
            <a:ext cx="2971800" cy="147637"/>
          </a:xfrm>
          <a:prstGeom prst="rect">
            <a:avLst/>
          </a:prstGeom>
        </p:spPr>
        <p:txBody>
          <a:bodyPr vert="horz" lIns="91440" tIns="45720" rIns="91440" bIns="45720" rtlCol="0" anchor="b"/>
          <a:lstStyle>
            <a:lvl1pPr algn="r">
              <a:defRPr sz="1200"/>
            </a:lvl1pPr>
          </a:lstStyle>
          <a:p>
            <a:fld id="{15B5BC58-DEE2-4ACC-93B4-04033970E470}" type="slidenum">
              <a:rPr lang="en-US" smtClean="0"/>
              <a:t>‹#›</a:t>
            </a:fld>
            <a:endParaRPr lang="en-US" dirty="0"/>
          </a:p>
        </p:txBody>
      </p:sp>
    </p:spTree>
    <p:extLst>
      <p:ext uri="{BB962C8B-B14F-4D97-AF65-F5344CB8AC3E}">
        <p14:creationId xmlns:p14="http://schemas.microsoft.com/office/powerpoint/2010/main" val="7557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E64EF1-C5F7-4DE8-AD49-0D829DA0BD19}" type="datetimeFigureOut">
              <a:rPr lang="en-US" smtClean="0"/>
              <a:t>7/5/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C5907C-D3F9-4A36-92CC-ED44E564CD67}" type="slidenum">
              <a:rPr lang="en-US" smtClean="0"/>
              <a:t>‹#›</a:t>
            </a:fld>
            <a:endParaRPr lang="en-US" dirty="0"/>
          </a:p>
        </p:txBody>
      </p:sp>
    </p:spTree>
    <p:extLst>
      <p:ext uri="{BB962C8B-B14F-4D97-AF65-F5344CB8AC3E}">
        <p14:creationId xmlns:p14="http://schemas.microsoft.com/office/powerpoint/2010/main" val="36676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5/2022 10:2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833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3</a:t>
            </a:fld>
            <a:endParaRPr lang="en-US" dirty="0"/>
          </a:p>
        </p:txBody>
      </p:sp>
    </p:spTree>
    <p:extLst>
      <p:ext uri="{BB962C8B-B14F-4D97-AF65-F5344CB8AC3E}">
        <p14:creationId xmlns:p14="http://schemas.microsoft.com/office/powerpoint/2010/main" val="2765466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4</a:t>
            </a:fld>
            <a:endParaRPr lang="en-US" dirty="0"/>
          </a:p>
        </p:txBody>
      </p:sp>
    </p:spTree>
    <p:extLst>
      <p:ext uri="{BB962C8B-B14F-4D97-AF65-F5344CB8AC3E}">
        <p14:creationId xmlns:p14="http://schemas.microsoft.com/office/powerpoint/2010/main" val="321817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7</a:t>
            </a:fld>
            <a:endParaRPr lang="en-US" dirty="0"/>
          </a:p>
        </p:txBody>
      </p:sp>
    </p:spTree>
    <p:extLst>
      <p:ext uri="{BB962C8B-B14F-4D97-AF65-F5344CB8AC3E}">
        <p14:creationId xmlns:p14="http://schemas.microsoft.com/office/powerpoint/2010/main" val="34732305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148998-010F-4A83-B46A-8AA8E4A712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04903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C5907C-D3F9-4A36-92CC-ED44E564CD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23676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5/2022 10:2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302054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857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F7C6C213-6421-4287-A882-CC8FBEB0339A}"/>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81157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5.xml"/><Relationship Id="rId4" Type="http://schemas.openxmlformats.org/officeDocument/2006/relationships/image" Target="../media/image25.sv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3.emf"/><Relationship Id="rId1" Type="http://schemas.openxmlformats.org/officeDocument/2006/relationships/slideMaster" Target="../slideMasters/slideMaster7.xml"/><Relationship Id="rId4" Type="http://schemas.openxmlformats.org/officeDocument/2006/relationships/image" Target="../media/image32.sv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7.xml"/><Relationship Id="rId4" Type="http://schemas.openxmlformats.org/officeDocument/2006/relationships/image" Target="../media/image38.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3.emf"/><Relationship Id="rId1" Type="http://schemas.openxmlformats.org/officeDocument/2006/relationships/slideMaster" Target="../slideMasters/slideMaster8.xml"/><Relationship Id="rId4" Type="http://schemas.openxmlformats.org/officeDocument/2006/relationships/image" Target="../media/image32.sv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41.png"/><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0.jpeg"/><Relationship Id="rId1" Type="http://schemas.openxmlformats.org/officeDocument/2006/relationships/slideMaster" Target="../slideMasters/slideMaster8.xml"/><Relationship Id="rId4" Type="http://schemas.openxmlformats.org/officeDocument/2006/relationships/image" Target="../media/image47.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0.jpeg"/><Relationship Id="rId1" Type="http://schemas.openxmlformats.org/officeDocument/2006/relationships/slideMaster" Target="../slideMasters/slideMaster8.xml"/><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8.xml"/><Relationship Id="rId4" Type="http://schemas.openxmlformats.org/officeDocument/2006/relationships/image" Target="../media/image53.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8.xml"/><Relationship Id="rId5" Type="http://schemas.openxmlformats.org/officeDocument/2006/relationships/image" Target="../media/image57.jpeg"/><Relationship Id="rId4" Type="http://schemas.openxmlformats.org/officeDocument/2006/relationships/image" Target="../media/image56.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0.jpeg"/><Relationship Id="rId1" Type="http://schemas.openxmlformats.org/officeDocument/2006/relationships/slideMaster" Target="../slideMasters/slideMaster8.xml"/><Relationship Id="rId6" Type="http://schemas.openxmlformats.org/officeDocument/2006/relationships/image" Target="../media/image58.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0.jpeg"/><Relationship Id="rId1" Type="http://schemas.openxmlformats.org/officeDocument/2006/relationships/slideMaster" Target="../slideMasters/slideMaster8.xml"/><Relationship Id="rId4" Type="http://schemas.openxmlformats.org/officeDocument/2006/relationships/image" Target="../media/image47.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0.jpeg"/><Relationship Id="rId1" Type="http://schemas.openxmlformats.org/officeDocument/2006/relationships/slideMaster" Target="../slideMasters/slideMaster8.xml"/><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0.jpeg"/><Relationship Id="rId1" Type="http://schemas.openxmlformats.org/officeDocument/2006/relationships/slideMaster" Target="../slideMasters/slideMaster8.xml"/><Relationship Id="rId6" Type="http://schemas.openxmlformats.org/officeDocument/2006/relationships/image" Target="../media/image58.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jpeg"/><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9.png"/><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69.png"/><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3.jpeg"/><Relationship Id="rId1" Type="http://schemas.openxmlformats.org/officeDocument/2006/relationships/slideMaster" Target="../slideMasters/slideMaster11.xml"/><Relationship Id="rId4" Type="http://schemas.openxmlformats.org/officeDocument/2006/relationships/image" Target="../media/image2.png"/></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1.xml"/><Relationship Id="rId4" Type="http://schemas.openxmlformats.org/officeDocument/2006/relationships/image" Target="../media/image5.jpe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emf"/><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12.xml"/><Relationship Id="rId4" Type="http://schemas.openxmlformats.org/officeDocument/2006/relationships/image" Target="../media/image79.jpe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14.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3.emf"/><Relationship Id="rId1" Type="http://schemas.openxmlformats.org/officeDocument/2006/relationships/slideMaster" Target="../slideMasters/slideMaster14.xml"/><Relationship Id="rId4" Type="http://schemas.openxmlformats.org/officeDocument/2006/relationships/image" Target="../media/image32.svg"/></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23.emf"/><Relationship Id="rId1" Type="http://schemas.openxmlformats.org/officeDocument/2006/relationships/slideMaster" Target="../slideMasters/slideMaster14.xml"/></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23.emf"/><Relationship Id="rId1"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41.png"/><Relationship Id="rId1" Type="http://schemas.openxmlformats.org/officeDocument/2006/relationships/slideMaster" Target="../slideMasters/slideMaster14.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23.emf"/><Relationship Id="rId1" Type="http://schemas.openxmlformats.org/officeDocument/2006/relationships/slideMaster" Target="../slideMasters/slideMaster14.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4.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4.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4.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4.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4.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4.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4.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4.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14.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0.jpeg"/><Relationship Id="rId1" Type="http://schemas.openxmlformats.org/officeDocument/2006/relationships/slideMaster" Target="../slideMasters/slideMaster14.xml"/><Relationship Id="rId4" Type="http://schemas.openxmlformats.org/officeDocument/2006/relationships/image" Target="../media/image47.jpeg"/></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0.jpeg"/><Relationship Id="rId1" Type="http://schemas.openxmlformats.org/officeDocument/2006/relationships/slideMaster" Target="../slideMasters/slideMaster14.xml"/><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14.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14.xml"/><Relationship Id="rId4" Type="http://schemas.openxmlformats.org/officeDocument/2006/relationships/image" Target="../media/image53.jpe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14.xml"/><Relationship Id="rId5" Type="http://schemas.openxmlformats.org/officeDocument/2006/relationships/image" Target="../media/image57.jpeg"/><Relationship Id="rId4" Type="http://schemas.openxmlformats.org/officeDocument/2006/relationships/image" Target="../media/image56.jpeg"/></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0.jpeg"/><Relationship Id="rId1" Type="http://schemas.openxmlformats.org/officeDocument/2006/relationships/slideMaster" Target="../slideMasters/slideMaster14.xml"/><Relationship Id="rId6" Type="http://schemas.openxmlformats.org/officeDocument/2006/relationships/image" Target="../media/image58.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0.jpeg"/><Relationship Id="rId1" Type="http://schemas.openxmlformats.org/officeDocument/2006/relationships/slideMaster" Target="../slideMasters/slideMaster14.xml"/><Relationship Id="rId4" Type="http://schemas.openxmlformats.org/officeDocument/2006/relationships/image" Target="../media/image47.jpeg"/></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0.jpeg"/><Relationship Id="rId1" Type="http://schemas.openxmlformats.org/officeDocument/2006/relationships/slideMaster" Target="../slideMasters/slideMaster14.xml"/><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0.jpeg"/><Relationship Id="rId1" Type="http://schemas.openxmlformats.org/officeDocument/2006/relationships/slideMaster" Target="../slideMasters/slideMaster14.xml"/><Relationship Id="rId6" Type="http://schemas.openxmlformats.org/officeDocument/2006/relationships/image" Target="../media/image58.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4.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4.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4.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4.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4.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4.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4.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167596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662568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34046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07049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30135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2948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73506187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7300272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9251499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7006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151433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2102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9545354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72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227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76419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949596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9391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0442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912595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14907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069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23032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44402744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71455894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62986003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1107280"/>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2410094"/>
            <a:ext cx="11060178" cy="40407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94744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631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7/5/2022</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5441922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66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2592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973960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178936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76880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6200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465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67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5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650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02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00874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155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063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5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33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28982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604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432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07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415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45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192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794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5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211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534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35596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14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88396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5295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9785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65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426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90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1437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874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0711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040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204410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7C676-62D9-48EF-AA25-C66A60D24D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7D3461-EF1D-4142-8B8A-C5C95FC544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2E46-CA3E-4095-8E0F-00AD5F5170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594FC5-CE52-4578-8364-530456161D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362DF3-00D8-41B7-B294-4898317CA97A}"/>
              </a:ext>
            </a:extLst>
          </p:cNvPr>
          <p:cNvSpPr>
            <a:spLocks noGrp="1"/>
          </p:cNvSpPr>
          <p:nvPr>
            <p:ph type="sldNum" sz="quarter" idx="12"/>
          </p:nvPr>
        </p:nvSpPr>
        <p:spPr/>
        <p:txBody>
          <a:bodyPr/>
          <a:lstStyle/>
          <a:p>
            <a:fld id="{7A9EB733-B701-410F-8B0A-61EC512A02B3}" type="slidenum">
              <a:rPr lang="en-US" smtClean="0"/>
              <a:t>‹#›</a:t>
            </a:fld>
            <a:endParaRPr lang="en-US"/>
          </a:p>
        </p:txBody>
      </p:sp>
    </p:spTree>
    <p:extLst>
      <p:ext uri="{BB962C8B-B14F-4D97-AF65-F5344CB8AC3E}">
        <p14:creationId xmlns:p14="http://schemas.microsoft.com/office/powerpoint/2010/main" val="14268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descr="Microsoft logo">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6368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0A578-5859-4B7A-8404-BF8BDF0606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A89205-EA6E-4C63-972A-610C4EF3FD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8CFE4-A5AF-4084-9399-E8BB1BD71F0A}"/>
              </a:ext>
            </a:extLst>
          </p:cNvPr>
          <p:cNvSpPr>
            <a:spLocks noGrp="1"/>
          </p:cNvSpPr>
          <p:nvPr>
            <p:ph type="dt" sz="half" idx="10"/>
          </p:nvPr>
        </p:nvSpPr>
        <p:spPr/>
        <p:txBody>
          <a:bodyPr/>
          <a:lstStyle/>
          <a:p>
            <a:fld id="{C1A22C7A-1F40-48F3-BEF1-A16E33CB4189}" type="datetimeFigureOut">
              <a:rPr lang="en-US" smtClean="0"/>
              <a:t>7/5/2022</a:t>
            </a:fld>
            <a:endParaRPr lang="en-US"/>
          </a:p>
        </p:txBody>
      </p:sp>
      <p:sp>
        <p:nvSpPr>
          <p:cNvPr id="5" name="Footer Placeholder 4">
            <a:extLst>
              <a:ext uri="{FF2B5EF4-FFF2-40B4-BE49-F238E27FC236}">
                <a16:creationId xmlns:a16="http://schemas.microsoft.com/office/drawing/2014/main" id="{AB492F36-8DE1-4E39-AFBB-46B4341167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3F3585-F385-4609-8F4C-AA549B14B91C}"/>
              </a:ext>
            </a:extLst>
          </p:cNvPr>
          <p:cNvSpPr>
            <a:spLocks noGrp="1"/>
          </p:cNvSpPr>
          <p:nvPr>
            <p:ph type="sldNum" sz="quarter" idx="12"/>
          </p:nvPr>
        </p:nvSpPr>
        <p:spPr/>
        <p:txBody>
          <a:bodyPr/>
          <a:lstStyle/>
          <a:p>
            <a:fld id="{9F0751D9-AF43-4A46-9E54-A1594CB724E7}" type="slidenum">
              <a:rPr lang="en-US" smtClean="0"/>
              <a:t>‹#›</a:t>
            </a:fld>
            <a:endParaRPr lang="en-US"/>
          </a:p>
        </p:txBody>
      </p:sp>
    </p:spTree>
    <p:extLst>
      <p:ext uri="{BB962C8B-B14F-4D97-AF65-F5344CB8AC3E}">
        <p14:creationId xmlns:p14="http://schemas.microsoft.com/office/powerpoint/2010/main" val="339327510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6" name="Text Placeholder 5">
            <a:extLst>
              <a:ext uri="{FF2B5EF4-FFF2-40B4-BE49-F238E27FC236}">
                <a16:creationId xmlns:a16="http://schemas.microsoft.com/office/drawing/2014/main" id="{B40EA3E9-0D5E-4576-8825-1754A8AF9E87}"/>
              </a:ext>
            </a:extLst>
          </p:cNvPr>
          <p:cNvSpPr>
            <a:spLocks noGrp="1"/>
          </p:cNvSpPr>
          <p:nvPr>
            <p:ph type="body" sz="quarter" idx="10"/>
          </p:nvPr>
        </p:nvSpPr>
        <p:spPr>
          <a:xfrm>
            <a:off x="588963" y="1106424"/>
            <a:ext cx="11017250" cy="307777"/>
          </a:xfrm>
        </p:spPr>
        <p:txBody>
          <a:bodyPr/>
          <a:lstStyle>
            <a:lvl1pPr marL="0" indent="0" algn="l" defTabSz="914400" rtl="0" eaLnBrk="1" latinLnBrk="0" hangingPunct="1">
              <a:buNone/>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1pPr>
            <a:lvl2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2pPr>
            <a:lvl3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3pPr>
            <a:lvl4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4pPr>
            <a:lvl5pPr marL="0" algn="l" defTabSz="914400" rtl="0" eaLnBrk="1" latinLnBrk="0" hangingPunct="1">
              <a:defRPr kumimoji="0" lang="en-IN" sz="2000" b="0" i="0" u="none" strike="noStrike" kern="1200" cap="none" spc="-50" normalizeH="0" baseline="0" dirty="0">
                <a:ln w="3175">
                  <a:noFill/>
                </a:ln>
                <a:solidFill>
                  <a:srgbClr val="282828"/>
                </a:solidFill>
                <a:effectLst/>
                <a:uLnTx/>
                <a:uFillTx/>
                <a:latin typeface="Segoe UI"/>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41114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219928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16561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36717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8593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346916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6947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656778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844300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97895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6117189"/>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27356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341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0747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011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322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672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85591537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0419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0254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8401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6169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3084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910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3607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359485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190876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2813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3433169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1167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9391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19888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4459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19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2613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52110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2285936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939584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673527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1136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226758345"/>
      </p:ext>
    </p:extLst>
  </p:cSld>
  <p:clrMapOvr>
    <a:masterClrMapping/>
  </p:clrMapOvr>
  <p:transition>
    <p:fade/>
  </p:transition>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5483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954493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94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232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990750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764995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57201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980245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8908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6413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er + Body">
    <p:spTree>
      <p:nvGrpSpPr>
        <p:cNvPr id="1" name=""/>
        <p:cNvGrpSpPr/>
        <p:nvPr/>
      </p:nvGrpSpPr>
      <p:grpSpPr>
        <a:xfrm>
          <a:off x="0" y="0"/>
          <a:ext cx="0" cy="0"/>
          <a:chOff x="0" y="0"/>
          <a:chExt cx="0" cy="0"/>
        </a:xfrm>
      </p:grpSpPr>
      <p:sp>
        <p:nvSpPr>
          <p:cNvPr id="2" name="Title 1"/>
          <p:cNvSpPr>
            <a:spLocks noGrp="1"/>
          </p:cNvSpPr>
          <p:nvPr>
            <p:ph type="title"/>
          </p:nvPr>
        </p:nvSpPr>
        <p:spPr>
          <a:xfrm>
            <a:off x="496887" y="400240"/>
            <a:ext cx="11354100" cy="328304"/>
          </a:xfrm>
        </p:spPr>
        <p:txBody>
          <a:bodyPr/>
          <a:lstStyle>
            <a:lvl1pPr>
              <a:defRPr sz="2600" cap="none"/>
            </a:lvl1pPr>
          </a:lstStyle>
          <a:p>
            <a:endParaRPr lang="en-US"/>
          </a:p>
        </p:txBody>
      </p:sp>
      <p:sp>
        <p:nvSpPr>
          <p:cNvPr id="6" name="Slide Number Placeholder 5"/>
          <p:cNvSpPr>
            <a:spLocks noGrp="1"/>
          </p:cNvSpPr>
          <p:nvPr>
            <p:ph type="sldNum" sz="quarter" idx="12"/>
          </p:nvPr>
        </p:nvSpPr>
        <p:spPr>
          <a:xfrm>
            <a:off x="0" y="6362700"/>
            <a:ext cx="548141" cy="365125"/>
          </a:xfrm>
          <a:prstGeom prst="rect">
            <a:avLst/>
          </a:prstGeom>
        </p:spPr>
        <p:txBody>
          <a:bodyPr/>
          <a:lstStyle>
            <a:lvl1pPr>
              <a:defRPr sz="1200">
                <a:solidFill>
                  <a:schemeClr val="tx1">
                    <a:lumMod val="75000"/>
                    <a:lumOff val="25000"/>
                  </a:schemeClr>
                </a:solidFill>
              </a:defRPr>
            </a:lvl1pPr>
          </a:lstStyle>
          <a:p>
            <a:fld id="{E170D496-3A75-48B9-A516-0D7745B3AD22}" type="slidenum">
              <a:rPr lang="en-US" smtClean="0"/>
              <a:pPr/>
              <a:t>‹#›</a:t>
            </a:fld>
            <a:endParaRPr lang="en-US"/>
          </a:p>
        </p:txBody>
      </p:sp>
      <p:sp>
        <p:nvSpPr>
          <p:cNvPr id="7" name="Rectangle 6"/>
          <p:cNvSpPr/>
          <p:nvPr/>
        </p:nvSpPr>
        <p:spPr>
          <a:xfrm>
            <a:off x="0" y="6725481"/>
            <a:ext cx="12192000" cy="1325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8" name="Rectangle 7"/>
          <p:cNvSpPr/>
          <p:nvPr/>
        </p:nvSpPr>
        <p:spPr>
          <a:xfrm>
            <a:off x="0" y="6812283"/>
            <a:ext cx="12192000" cy="45719"/>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11" name="Content Placeholder 2">
            <a:extLst>
              <a:ext uri="{FF2B5EF4-FFF2-40B4-BE49-F238E27FC236}">
                <a16:creationId xmlns:a16="http://schemas.microsoft.com/office/drawing/2014/main" id="{EE98A4AD-6F4A-41E1-8A75-92763CD65444}"/>
              </a:ext>
            </a:extLst>
          </p:cNvPr>
          <p:cNvSpPr>
            <a:spLocks noGrp="1"/>
          </p:cNvSpPr>
          <p:nvPr>
            <p:ph idx="1"/>
          </p:nvPr>
        </p:nvSpPr>
        <p:spPr>
          <a:xfrm>
            <a:off x="496888" y="1130062"/>
            <a:ext cx="11354100" cy="4996109"/>
          </a:xfrm>
          <a:prstGeom prst="rect">
            <a:avLst/>
          </a:prstGeom>
        </p:spPr>
        <p:txBody>
          <a:bodyPr/>
          <a:lstStyle>
            <a:lvl1pPr marL="0" marR="0" indent="0" algn="l" defTabSz="685783" rtl="0" eaLnBrk="1" fontAlgn="auto" latinLnBrk="0" hangingPunct="1">
              <a:lnSpc>
                <a:spcPct val="100000"/>
              </a:lnSpc>
              <a:spcBef>
                <a:spcPts val="1800"/>
              </a:spcBef>
              <a:spcAft>
                <a:spcPts val="0"/>
              </a:spcAft>
              <a:buClrTx/>
              <a:buSzTx/>
              <a:buFont typeface="Arial"/>
              <a:buNone/>
              <a:tabLst/>
              <a:defRPr lang="en-US" sz="2250" i="0"/>
            </a:lvl1pPr>
            <a:lvl2pPr marL="267891" indent="-267891">
              <a:buFont typeface="Arial" panose="020B0604020202020204" pitchFamily="34" charset="0"/>
              <a:buChar char="•"/>
              <a:defRPr lang="en-US" sz="2000" dirty="0"/>
            </a:lvl2pPr>
            <a:lvl3pPr marL="457200" indent="-284163">
              <a:defRPr lang="en-US" sz="1800" dirty="0"/>
            </a:lvl3pPr>
            <a:lvl4pPr marL="540247" indent="-273844">
              <a:defRPr lang="en-US" sz="1600" dirty="0"/>
            </a:lvl4pPr>
            <a:lvl5pPr marL="695028" indent="-154781">
              <a:defRPr lang="en-US" sz="1500" dirty="0"/>
            </a:lvl5pPr>
          </a:lstStyle>
          <a:p>
            <a:pPr lvl="0"/>
            <a:r>
              <a:rPr lang="en-US"/>
              <a:t>Click to edit Master text styles</a:t>
            </a:r>
          </a:p>
          <a:p>
            <a:pPr lvl="1"/>
            <a:r>
              <a:rPr lang="en-US"/>
              <a:t>Second level</a:t>
            </a:r>
          </a:p>
          <a:p>
            <a:pPr lvl="2"/>
            <a:r>
              <a:rPr lang="en-US"/>
              <a:t>Third level</a:t>
            </a:r>
          </a:p>
          <a:p>
            <a:pPr lvl="3"/>
            <a:r>
              <a:rPr lang="en-US"/>
              <a:t>Fourth level</a:t>
            </a:r>
          </a:p>
          <a:p>
            <a:pPr marL="0" marR="0" lvl="0" indent="0" algn="l" defTabSz="685783" rtl="0" eaLnBrk="1" fontAlgn="auto" latinLnBrk="0" hangingPunct="1">
              <a:lnSpc>
                <a:spcPct val="100000"/>
              </a:lnSpc>
              <a:spcBef>
                <a:spcPts val="1800"/>
              </a:spcBef>
              <a:spcAft>
                <a:spcPts val="0"/>
              </a:spcAft>
              <a:buClrTx/>
              <a:buSzTx/>
              <a:buFont typeface="Arial"/>
              <a:buNone/>
              <a:tabLst/>
              <a:defRPr/>
            </a:pPr>
            <a:endParaRPr kumimoji="0" lang="en-US" sz="2400" b="0" i="0" u="none" strike="noStrike" kern="1200" cap="none" spc="0" normalizeH="0" baseline="0" noProof="0">
              <a:ln>
                <a:noFill/>
              </a:ln>
              <a:solidFill>
                <a:srgbClr val="000000"/>
              </a:solidFill>
              <a:effectLst/>
              <a:uLnTx/>
              <a:uFillTx/>
              <a:latin typeface="+mn-lt"/>
              <a:ea typeface="+mn-ea"/>
              <a:cs typeface="+mn-cs"/>
            </a:endParaRPr>
          </a:p>
        </p:txBody>
      </p:sp>
      <p:sp>
        <p:nvSpPr>
          <p:cNvPr id="14" name="Flowchart: Process 13">
            <a:extLst>
              <a:ext uri="{FF2B5EF4-FFF2-40B4-BE49-F238E27FC236}">
                <a16:creationId xmlns:a16="http://schemas.microsoft.com/office/drawing/2014/main" id="{79F8C3A4-B665-4C98-B997-6C676FABE5DA}"/>
              </a:ext>
            </a:extLst>
          </p:cNvPr>
          <p:cNvSpPr/>
          <p:nvPr/>
        </p:nvSpPr>
        <p:spPr>
          <a:xfrm>
            <a:off x="0" y="922164"/>
            <a:ext cx="12192000" cy="45719"/>
          </a:xfrm>
          <a:prstGeom prst="flowChartProcess">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US" sz="2000" b="1"/>
          </a:p>
        </p:txBody>
      </p:sp>
    </p:spTree>
    <p:custDataLst>
      <p:tags r:id="rId1"/>
    </p:custDataLst>
    <p:extLst>
      <p:ext uri="{BB962C8B-B14F-4D97-AF65-F5344CB8AC3E}">
        <p14:creationId xmlns:p14="http://schemas.microsoft.com/office/powerpoint/2010/main" val="259099901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667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75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478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008008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10818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724604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4015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20542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5664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991871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61163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02065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62195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55511116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760737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320793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70781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6606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2856664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82814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9842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7905895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01902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1178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9691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3505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25182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7588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99555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09346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561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11154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4052705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80103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734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08127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21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453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02553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4511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8797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1377737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2126242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217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571040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604175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663867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89868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9362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424325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543907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5477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8268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34948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1451622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26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76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051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81782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303282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2649858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185414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297617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47873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314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19270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2886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265949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4998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316010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051585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9130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83138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46242980"/>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2660080"/>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7/5/2022</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1415203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863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11" name="Image 10" descr="Une image contenant personne, intérieur, mur, table&#10;&#10;Description générée automatiquement">
            <a:extLst>
              <a:ext uri="{FF2B5EF4-FFF2-40B4-BE49-F238E27FC236}">
                <a16:creationId xmlns:a16="http://schemas.microsoft.com/office/drawing/2014/main" id="{471A62D6-EFD0-4B6C-A9B6-19738A141FD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64" b="13080"/>
          <a:stretch/>
        </p:blipFill>
        <p:spPr>
          <a:xfrm>
            <a:off x="0" y="0"/>
            <a:ext cx="12192000" cy="6858000"/>
          </a:xfrm>
          <a:prstGeom prst="rect">
            <a:avLst/>
          </a:prstGeom>
        </p:spPr>
      </p:pic>
      <p:sp>
        <p:nvSpPr>
          <p:cNvPr id="12" name="Title 1">
            <a:extLst>
              <a:ext uri="{FF2B5EF4-FFF2-40B4-BE49-F238E27FC236}">
                <a16:creationId xmlns:a16="http://schemas.microsoft.com/office/drawing/2014/main" id="{78DFBB9F-BA97-4428-A4A5-02852E29ACF7}"/>
              </a:ext>
            </a:extLst>
          </p:cNvPr>
          <p:cNvSpPr txBox="1">
            <a:spLocks/>
          </p:cNvSpPr>
          <p:nvPr userDrawn="1"/>
        </p:nvSpPr>
        <p:spPr>
          <a:xfrm>
            <a:off x="0" y="0"/>
            <a:ext cx="10145027"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2060">
              <a:alpha val="62000"/>
            </a:srgbClr>
          </a:solidFill>
          <a:ln>
            <a:noFill/>
          </a:ln>
          <a:effectLst>
            <a:outerShdw blurRad="50800" dist="38100" dir="18900000" algn="bl" rotWithShape="0">
              <a:prstClr val="black">
                <a:alpha val="40000"/>
              </a:prstClr>
            </a:outerShdw>
          </a:effectLst>
        </p:spPr>
        <p:txBody>
          <a:bodyPr vert="horz" lIns="365760" tIns="137160" rIns="13716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endParaRPr lang="en-US" sz="2000" spc="0">
              <a:latin typeface="Segoe UI Semilight" charset="0"/>
              <a:cs typeface="Segoe UI Semilight" charset="0"/>
            </a:endParaRPr>
          </a:p>
        </p:txBody>
      </p:sp>
      <p:sp>
        <p:nvSpPr>
          <p:cNvPr id="2" name="Titre 1">
            <a:extLst>
              <a:ext uri="{FF2B5EF4-FFF2-40B4-BE49-F238E27FC236}">
                <a16:creationId xmlns:a16="http://schemas.microsoft.com/office/drawing/2014/main" id="{F34A73D4-57EE-4417-B5F6-3A0EEE5FF417}"/>
              </a:ext>
            </a:extLst>
          </p:cNvPr>
          <p:cNvSpPr>
            <a:spLocks noGrp="1"/>
          </p:cNvSpPr>
          <p:nvPr>
            <p:ph type="ctrTitle"/>
          </p:nvPr>
        </p:nvSpPr>
        <p:spPr>
          <a:xfrm>
            <a:off x="147587" y="3688645"/>
            <a:ext cx="7860631" cy="1447751"/>
          </a:xfrm>
        </p:spPr>
        <p:txBody>
          <a:bodyPr anchor="b"/>
          <a:lstStyle>
            <a:lvl1pPr algn="ctr">
              <a:defRPr sz="6000">
                <a:solidFill>
                  <a:schemeClr val="bg1"/>
                </a:solidFill>
                <a:latin typeface="Segoe UI Light" panose="020B0502040204020203" pitchFamily="34" charset="0"/>
                <a:cs typeface="Segoe UI Light" panose="020B0502040204020203" pitchFamily="34" charset="0"/>
              </a:defRPr>
            </a:lvl1pPr>
          </a:lstStyle>
          <a:p>
            <a:r>
              <a:rPr lang="fr-FR"/>
              <a:t>Modifiez le style du titre</a:t>
            </a:r>
          </a:p>
        </p:txBody>
      </p:sp>
      <p:sp>
        <p:nvSpPr>
          <p:cNvPr id="3" name="Sous-titre 2">
            <a:extLst>
              <a:ext uri="{FF2B5EF4-FFF2-40B4-BE49-F238E27FC236}">
                <a16:creationId xmlns:a16="http://schemas.microsoft.com/office/drawing/2014/main" id="{EDFE393D-9A26-4C9E-9298-C3C54F2A26F7}"/>
              </a:ext>
            </a:extLst>
          </p:cNvPr>
          <p:cNvSpPr>
            <a:spLocks noGrp="1"/>
          </p:cNvSpPr>
          <p:nvPr>
            <p:ph type="subTitle" idx="1"/>
          </p:nvPr>
        </p:nvSpPr>
        <p:spPr>
          <a:xfrm>
            <a:off x="397844" y="5697222"/>
            <a:ext cx="7860631" cy="863915"/>
          </a:xfrm>
        </p:spPr>
        <p:txBody>
          <a:bodyPr/>
          <a:lstStyle>
            <a:lvl1pPr marL="0" indent="0" algn="ctr">
              <a:buNone/>
              <a:defRPr sz="2400">
                <a:solidFill>
                  <a:srgbClr val="00B0F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pic>
        <p:nvPicPr>
          <p:cNvPr id="13" name="Picture 3">
            <a:extLst>
              <a:ext uri="{FF2B5EF4-FFF2-40B4-BE49-F238E27FC236}">
                <a16:creationId xmlns:a16="http://schemas.microsoft.com/office/drawing/2014/main" id="{0EA2CE09-3D49-4DCF-A7EC-DF000AA135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3623" y="296863"/>
            <a:ext cx="1858780" cy="683740"/>
          </a:xfrm>
          <a:prstGeom prst="rect">
            <a:avLst/>
          </a:prstGeom>
        </p:spPr>
      </p:pic>
    </p:spTree>
    <p:extLst>
      <p:ext uri="{BB962C8B-B14F-4D97-AF65-F5344CB8AC3E}">
        <p14:creationId xmlns:p14="http://schemas.microsoft.com/office/powerpoint/2010/main" val="103790178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412710286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05892317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786867-3289-4DB0-B67A-7481D64A04EC}"/>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17B13CD4-4210-42B7-B0C7-6FAC8BB36A0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Tree>
    <p:extLst>
      <p:ext uri="{BB962C8B-B14F-4D97-AF65-F5344CB8AC3E}">
        <p14:creationId xmlns:p14="http://schemas.microsoft.com/office/powerpoint/2010/main" val="191762335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27CA1FD-AB67-4DF2-B8E9-2DC154F8DED0}"/>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DB48702-A759-4BEF-A3DD-CCA1FEAD910B}"/>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95258255-F9F5-430F-A231-5683732A0FCE}"/>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551301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47D041B-0E5D-4853-A49A-53EBBE0B2508}"/>
              </a:ext>
            </a:extLst>
          </p:cNvPr>
          <p:cNvSpPr>
            <a:spLocks noGrp="1"/>
          </p:cNvSpPr>
          <p:nvPr>
            <p:ph type="title"/>
          </p:nvPr>
        </p:nvSpPr>
        <p:spPr>
          <a:xfrm>
            <a:off x="839788" y="136525"/>
            <a:ext cx="3932237" cy="1663399"/>
          </a:xfrm>
        </p:spPr>
        <p:txBody>
          <a:bodyPr anchor="t" anchorCtr="0"/>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14B3EA3A-638B-4E6C-AD69-B4618E8E091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2339E304-2C87-44EF-B55B-3961406AC1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Tree>
    <p:extLst>
      <p:ext uri="{BB962C8B-B14F-4D97-AF65-F5344CB8AC3E}">
        <p14:creationId xmlns:p14="http://schemas.microsoft.com/office/powerpoint/2010/main" val="105961089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25673254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772029"/>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6043002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998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306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72302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57972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04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1453950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42588688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450867D-0CBB-B249-8E9C-6B4BF9B98892}"/>
              </a:ext>
            </a:extLst>
          </p:cNvPr>
          <p:cNvSpPr/>
          <p:nvPr userDrawn="1"/>
        </p:nvSpPr>
        <p:spPr>
          <a:xfrm rot="10800000">
            <a:off x="1" y="0"/>
            <a:ext cx="6095997" cy="6858000"/>
          </a:xfrm>
          <a:prstGeom prst="rect">
            <a:avLst/>
          </a:prstGeom>
          <a:gradFill>
            <a:gsLst>
              <a:gs pos="0">
                <a:srgbClr val="3C3C41"/>
              </a:gs>
              <a:gs pos="100000">
                <a:schemeClr val="tx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7">
            <a:extLst>
              <a:ext uri="{FF2B5EF4-FFF2-40B4-BE49-F238E27FC236}">
                <a16:creationId xmlns:a16="http://schemas.microsoft.com/office/drawing/2014/main" id="{075A1D89-4F79-754D-89EC-905EAF283D53}"/>
              </a:ext>
            </a:extLst>
          </p:cNvPr>
          <p:cNvSpPr>
            <a:spLocks noGrp="1"/>
          </p:cNvSpPr>
          <p:nvPr>
            <p:ph sz="quarter" idx="20"/>
          </p:nvPr>
        </p:nvSpPr>
        <p:spPr>
          <a:xfrm>
            <a:off x="694662" y="2220686"/>
            <a:ext cx="3857017" cy="3786708"/>
          </a:xfrm>
        </p:spPr>
        <p:txBody>
          <a:bodyPr>
            <a:noAutofit/>
          </a:bodyPr>
          <a:lstStyle>
            <a:lvl1pPr marL="0" indent="0">
              <a:lnSpc>
                <a:spcPct val="150000"/>
              </a:lnSpc>
              <a:buNone/>
              <a:defRPr sz="1600" b="0" i="0">
                <a:solidFill>
                  <a:schemeClr val="bg1"/>
                </a:solidFill>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4" name="Picture Placeholder 3">
            <a:extLst>
              <a:ext uri="{FF2B5EF4-FFF2-40B4-BE49-F238E27FC236}">
                <a16:creationId xmlns:a16="http://schemas.microsoft.com/office/drawing/2014/main" id="{B17A5BC6-0672-6B4A-AC9C-251C272C6FD6}"/>
              </a:ext>
            </a:extLst>
          </p:cNvPr>
          <p:cNvSpPr>
            <a:spLocks noGrp="1"/>
          </p:cNvSpPr>
          <p:nvPr>
            <p:ph type="pic" sz="quarter" idx="21"/>
          </p:nvPr>
        </p:nvSpPr>
        <p:spPr>
          <a:xfrm>
            <a:off x="6095998" y="0"/>
            <a:ext cx="6095997" cy="6858000"/>
          </a:xfrm>
        </p:spPr>
        <p:txBody>
          <a:bodyPr/>
          <a:lstStyle/>
          <a:p>
            <a:endParaRPr lang="en-US"/>
          </a:p>
        </p:txBody>
      </p:sp>
      <p:pic>
        <p:nvPicPr>
          <p:cNvPr id="12" name="Picture 11" descr="A picture containing drawing&#10;&#10;Description automatically generated">
            <a:extLst>
              <a:ext uri="{FF2B5EF4-FFF2-40B4-BE49-F238E27FC236}">
                <a16:creationId xmlns:a16="http://schemas.microsoft.com/office/drawing/2014/main" id="{87FE5DF0-03C4-C147-B5BC-F28C5225489D}"/>
              </a:ext>
            </a:extLst>
          </p:cNvPr>
          <p:cNvPicPr>
            <a:picLocks noChangeAspect="1"/>
          </p:cNvPicPr>
          <p:nvPr userDrawn="1"/>
        </p:nvPicPr>
        <p:blipFill>
          <a:blip r:embed="rId2"/>
          <a:stretch>
            <a:fillRect/>
          </a:stretch>
        </p:blipFill>
        <p:spPr>
          <a:xfrm>
            <a:off x="11113006" y="6373463"/>
            <a:ext cx="1078992" cy="484537"/>
          </a:xfrm>
          <a:prstGeom prst="rect">
            <a:avLst/>
          </a:prstGeom>
        </p:spPr>
      </p:pic>
      <p:sp>
        <p:nvSpPr>
          <p:cNvPr id="16" name="Title 1">
            <a:extLst>
              <a:ext uri="{FF2B5EF4-FFF2-40B4-BE49-F238E27FC236}">
                <a16:creationId xmlns:a16="http://schemas.microsoft.com/office/drawing/2014/main" id="{28E1E32B-D8B0-AE4E-ADA9-4984F38C2F6A}"/>
              </a:ext>
            </a:extLst>
          </p:cNvPr>
          <p:cNvSpPr>
            <a:spLocks noGrp="1"/>
          </p:cNvSpPr>
          <p:nvPr>
            <p:ph type="title" hasCustomPrompt="1"/>
          </p:nvPr>
        </p:nvSpPr>
        <p:spPr>
          <a:xfrm>
            <a:off x="694662" y="749877"/>
            <a:ext cx="3857017" cy="1114365"/>
          </a:xfrm>
        </p:spPr>
        <p:txBody>
          <a:bodyPr anchor="t">
            <a:noAutofit/>
          </a:bodyPr>
          <a:lstStyle>
            <a:lvl1pPr>
              <a:defRPr sz="3600" b="1" i="0">
                <a:solidFill>
                  <a:schemeClr val="bg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Tree>
    <p:extLst>
      <p:ext uri="{BB962C8B-B14F-4D97-AF65-F5344CB8AC3E}">
        <p14:creationId xmlns:p14="http://schemas.microsoft.com/office/powerpoint/2010/main" val="146000414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6" name="MS logo gray - EMF">
            <a:extLst>
              <a:ext uri="{FF2B5EF4-FFF2-40B4-BE49-F238E27FC236}">
                <a16:creationId xmlns:a16="http://schemas.microsoft.com/office/drawing/2014/main" id="{45CEC8DE-4E0D-4B16-968C-C55D753AEC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spTree>
    <p:extLst>
      <p:ext uri="{BB962C8B-B14F-4D97-AF65-F5344CB8AC3E}">
        <p14:creationId xmlns:p14="http://schemas.microsoft.com/office/powerpoint/2010/main" val="241437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person sitting at a table using a computer&#10;&#10;Description automatically generated">
            <a:extLst>
              <a:ext uri="{FF2B5EF4-FFF2-40B4-BE49-F238E27FC236}">
                <a16:creationId xmlns:a16="http://schemas.microsoft.com/office/drawing/2014/main" id="{25607157-9FE9-455C-9836-6C0F85ADB2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1058699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group of people standing in a room&#10;&#10;Description automatically generated">
            <a:extLst>
              <a:ext uri="{FF2B5EF4-FFF2-40B4-BE49-F238E27FC236}">
                <a16:creationId xmlns:a16="http://schemas.microsoft.com/office/drawing/2014/main" id="{128AEDAC-665C-42D1-AB2E-BC9B0EBA6E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4027315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1" name="Picture 10" descr="A person sitting at a table using a computer&#10;&#10;Description automatically generated">
            <a:extLst>
              <a:ext uri="{FF2B5EF4-FFF2-40B4-BE49-F238E27FC236}">
                <a16:creationId xmlns:a16="http://schemas.microsoft.com/office/drawing/2014/main" id="{94EBAFA8-4AB6-4593-998A-5CD0E5B19A6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50"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3633558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460796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446452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75589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70186346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58931020"/>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37716707"/>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870889154"/>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26253036"/>
      </p:ext>
    </p:extLst>
  </p:cSld>
  <p:clrMapOvr>
    <a:masterClrMapping/>
  </p:clrMapOvr>
  <p:transition>
    <p:fade/>
  </p:transition>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922589421"/>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7439312"/>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86425694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78872200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065279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1553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164202"/>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130135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848834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34488982"/>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59625009"/>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2401" y="446661"/>
            <a:ext cx="896425" cy="190218"/>
          </a:xfrm>
          <a:prstGeom prst="rect">
            <a:avLst/>
          </a:prstGeom>
        </p:spPr>
      </p:pic>
    </p:spTree>
    <p:extLst>
      <p:ext uri="{BB962C8B-B14F-4D97-AF65-F5344CB8AC3E}">
        <p14:creationId xmlns:p14="http://schemas.microsoft.com/office/powerpoint/2010/main" val="2720291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45430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92B616-415D-F148-805A-699C998F19BA}"/>
              </a:ext>
            </a:extLst>
          </p:cNvPr>
          <p:cNvPicPr>
            <a:picLocks noChangeAspect="1"/>
          </p:cNvPicPr>
          <p:nvPr userDrawn="1"/>
        </p:nvPicPr>
        <p:blipFill rotWithShape="1">
          <a:blip r:embed="rId2"/>
          <a:srcRect l="5767" t="20592" r="131"/>
          <a:stretch/>
        </p:blipFill>
        <p:spPr>
          <a:xfrm flipH="1">
            <a:off x="1" y="0"/>
            <a:ext cx="12191998"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pic>
        <p:nvPicPr>
          <p:cNvPr id="7" name="Picture 6">
            <a:extLst>
              <a:ext uri="{FF2B5EF4-FFF2-40B4-BE49-F238E27FC236}">
                <a16:creationId xmlns:a16="http://schemas.microsoft.com/office/drawing/2014/main" id="{E0BC5050-F92A-C34E-BA4F-87FA4D8117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845333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18599450"/>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8679861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01095607"/>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1227062481"/>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687154059"/>
      </p:ext>
    </p:extLst>
  </p:cSld>
  <p:clrMapOvr>
    <a:masterClrMapping/>
  </p:clrMapOvr>
  <p:transition>
    <p:fade/>
  </p:transition>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7207427"/>
      </p:ext>
    </p:extLst>
  </p:cSld>
  <p:clrMapOvr>
    <a:masterClrMapping/>
  </p:clrMapOvr>
  <p:transition>
    <p:fade/>
  </p:transition>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22076630"/>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489765105"/>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40742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0230453"/>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22147137"/>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1520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279641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3402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300183"/>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83390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39655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997049025"/>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2811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60BF2-500E-4770-97B5-EFDA3938AE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09230D-C39A-45C1-9ADC-75B0B4EE49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4C7EA8-F93D-48C6-86FE-B3951BC0C6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B6C9A6D-7BCE-4C04-A6A9-6C54AEA6A0CA}"/>
              </a:ext>
            </a:extLst>
          </p:cNvPr>
          <p:cNvSpPr>
            <a:spLocks noGrp="1"/>
          </p:cNvSpPr>
          <p:nvPr>
            <p:ph type="dt" sz="half" idx="10"/>
          </p:nvPr>
        </p:nvSpPr>
        <p:spPr/>
        <p:txBody>
          <a:bodyPr/>
          <a:lstStyle/>
          <a:p>
            <a:fld id="{2DEE5527-ACF9-4E9F-BEB1-941EBF0AE803}" type="datetimeFigureOut">
              <a:rPr lang="en-US" smtClean="0"/>
              <a:t>7/5/2022</a:t>
            </a:fld>
            <a:endParaRPr lang="en-US"/>
          </a:p>
        </p:txBody>
      </p:sp>
      <p:sp>
        <p:nvSpPr>
          <p:cNvPr id="6" name="Footer Placeholder 5">
            <a:extLst>
              <a:ext uri="{FF2B5EF4-FFF2-40B4-BE49-F238E27FC236}">
                <a16:creationId xmlns:a16="http://schemas.microsoft.com/office/drawing/2014/main" id="{2C90D834-60E1-4C3B-9873-C4A95ECF6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A03A37-5847-437E-820C-852743EDA410}"/>
              </a:ext>
            </a:extLst>
          </p:cNvPr>
          <p:cNvSpPr>
            <a:spLocks noGrp="1"/>
          </p:cNvSpPr>
          <p:nvPr>
            <p:ph type="sldNum" sz="quarter" idx="12"/>
          </p:nvPr>
        </p:nvSpPr>
        <p:spPr/>
        <p:txBody>
          <a:bodyPr/>
          <a:lstStyle/>
          <a:p>
            <a:fld id="{EE80E34E-7FFF-4307-90D9-9ED329D9347B}" type="slidenum">
              <a:rPr lang="en-US" smtClean="0"/>
              <a:t>‹#›</a:t>
            </a:fld>
            <a:endParaRPr lang="en-US"/>
          </a:p>
        </p:txBody>
      </p:sp>
    </p:spTree>
    <p:extLst>
      <p:ext uri="{BB962C8B-B14F-4D97-AF65-F5344CB8AC3E}">
        <p14:creationId xmlns:p14="http://schemas.microsoft.com/office/powerpoint/2010/main" val="565428003"/>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271592"/>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93855936"/>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0943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9C329-35F6-4EC7-B2CC-B56F7D9EE9F2}"/>
              </a:ext>
            </a:extLst>
          </p:cNvPr>
          <p:cNvSpPr>
            <a:spLocks noGrp="1"/>
          </p:cNvSpPr>
          <p:nvPr>
            <p:ph type="title"/>
          </p:nvPr>
        </p:nvSpPr>
        <p:spPr>
          <a:xfrm>
            <a:off x="548613" y="1771473"/>
            <a:ext cx="11018520" cy="390854"/>
          </a:xfrm>
        </p:spPr>
        <p:txBody>
          <a:bodyPr/>
          <a:lstStyle>
            <a:lvl1pPr marL="0" algn="l" defTabSz="932563" rtl="0" eaLnBrk="1" latinLnBrk="0" hangingPunct="1">
              <a:lnSpc>
                <a:spcPct val="100000"/>
              </a:lnSpc>
              <a:spcBef>
                <a:spcPct val="0"/>
              </a:spcBef>
              <a:buNone/>
              <a:defRPr kumimoji="0" lang="en-US" sz="5882" b="1" i="0" u="none" strike="noStrike" kern="1200" cap="none" spc="0" normalizeH="0" baseline="0" dirty="0">
                <a:ln>
                  <a:noFill/>
                </a:ln>
                <a:solidFill>
                  <a:srgbClr val="333333"/>
                </a:solidFill>
                <a:effectLst/>
                <a:uLnTx/>
                <a:uFillTx/>
                <a:latin typeface="Segoe Pro Display" panose="020B0502040504020203" pitchFamily="34" charset="0"/>
                <a:ea typeface="Roboto" panose="02000000000000000000" pitchFamily="2"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6836815-2C69-4FCE-9963-12E89E1ED934}"/>
              </a:ext>
            </a:extLst>
          </p:cNvPr>
          <p:cNvSpPr/>
          <p:nvPr userDrawn="1"/>
        </p:nvSpPr>
        <p:spPr>
          <a:xfrm>
            <a:off x="-10304" y="2769349"/>
            <a:ext cx="12202303" cy="4088651"/>
          </a:xfrm>
          <a:prstGeom prst="rect">
            <a:avLst/>
          </a:prstGeom>
          <a:solidFill>
            <a:srgbClr val="FFB9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err="1">
              <a:solidFill>
                <a:schemeClr val="bg1"/>
              </a:solidFill>
              <a:latin typeface="Roboto Light" pitchFamily="2" charset="0"/>
              <a:ea typeface="Roboto Light" pitchFamily="2" charset="0"/>
            </a:endParaRPr>
          </a:p>
        </p:txBody>
      </p:sp>
      <p:sp>
        <p:nvSpPr>
          <p:cNvPr id="11" name="Text Placeholder 3">
            <a:extLst>
              <a:ext uri="{FF2B5EF4-FFF2-40B4-BE49-F238E27FC236}">
                <a16:creationId xmlns:a16="http://schemas.microsoft.com/office/drawing/2014/main" id="{08429D79-2FAC-44DC-9811-085243D8835C}"/>
              </a:ext>
            </a:extLst>
          </p:cNvPr>
          <p:cNvSpPr>
            <a:spLocks noGrp="1"/>
          </p:cNvSpPr>
          <p:nvPr>
            <p:ph type="body" sz="quarter" idx="14" hasCustomPrompt="1"/>
          </p:nvPr>
        </p:nvSpPr>
        <p:spPr>
          <a:xfrm>
            <a:off x="589489" y="3256043"/>
            <a:ext cx="9866898" cy="1145594"/>
          </a:xfrm>
        </p:spPr>
        <p:txBody>
          <a:bodyPr>
            <a:noAutofit/>
          </a:bodyPr>
          <a:lstStyle>
            <a:lvl1pPr marL="0" indent="0">
              <a:spcBef>
                <a:spcPts val="0"/>
              </a:spcBef>
              <a:buNone/>
              <a:defRPr sz="2353" b="1" i="0">
                <a:gradFill>
                  <a:gsLst>
                    <a:gs pos="0">
                      <a:schemeClr val="tx1"/>
                    </a:gs>
                    <a:gs pos="100000">
                      <a:schemeClr val="tx1"/>
                    </a:gs>
                  </a:gsLst>
                  <a:lin ang="5400000" scaled="0"/>
                </a:gradFill>
                <a:latin typeface="Segoe Pro" panose="020B0502040504020203" pitchFamily="34" charset="0"/>
              </a:defRPr>
            </a:lvl1pPr>
          </a:lstStyle>
          <a:p>
            <a:pPr lvl="0"/>
            <a:r>
              <a:rPr lang="en-US"/>
              <a:t>Name</a:t>
            </a:r>
          </a:p>
          <a:p>
            <a:pPr lvl="0"/>
            <a:r>
              <a:rPr lang="en-US"/>
              <a:t>Title</a:t>
            </a:r>
          </a:p>
          <a:p>
            <a:pPr lvl="0"/>
            <a:r>
              <a:rPr lang="en-US"/>
              <a:t>Email </a:t>
            </a:r>
          </a:p>
        </p:txBody>
      </p:sp>
      <p:pic>
        <p:nvPicPr>
          <p:cNvPr id="14" name="Picture 13">
            <a:extLst>
              <a:ext uri="{FF2B5EF4-FFF2-40B4-BE49-F238E27FC236}">
                <a16:creationId xmlns:a16="http://schemas.microsoft.com/office/drawing/2014/main" id="{123965FC-AEA8-46B0-B3D8-E81574B25EEB}"/>
              </a:ext>
            </a:extLst>
          </p:cNvPr>
          <p:cNvPicPr>
            <a:picLocks noChangeAspect="1"/>
          </p:cNvPicPr>
          <p:nvPr userDrawn="1"/>
        </p:nvPicPr>
        <p:blipFill rotWithShape="1">
          <a:blip r:embed="rId2"/>
          <a:srcRect r="13185" b="27272"/>
          <a:stretch/>
        </p:blipFill>
        <p:spPr>
          <a:xfrm>
            <a:off x="7253803" y="3514991"/>
            <a:ext cx="4938198" cy="3343009"/>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EC31FD8C-1502-4D17-AFF2-59B6C038915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66665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1"/>
            <a:ext cx="11018520" cy="1083374"/>
          </a:xfrm>
        </p:spPr>
        <p:txBody>
          <a:bodyPr wrap="square">
            <a:spAutoFit/>
          </a:bodyPr>
          <a:lstStyle>
            <a:lvl1pPr marL="0" indent="0">
              <a:buNone/>
              <a:defRPr sz="2000">
                <a:solidFill>
                  <a:srgbClr val="000000"/>
                </a:solidFill>
              </a:defRPr>
            </a:lvl1pPr>
            <a:lvl2pPr marL="228556" indent="0">
              <a:buNone/>
              <a:defRPr sz="1600">
                <a:solidFill>
                  <a:srgbClr val="000000"/>
                </a:solidFill>
              </a:defRPr>
            </a:lvl2pPr>
            <a:lvl3pPr marL="457112" indent="0">
              <a:buNone/>
              <a:defRPr sz="1400">
                <a:solidFill>
                  <a:srgbClr val="000000"/>
                </a:solidFill>
              </a:defRPr>
            </a:lvl3pPr>
            <a:lvl4pPr marL="685668" indent="0">
              <a:buNone/>
              <a:defRPr sz="1200">
                <a:solidFill>
                  <a:srgbClr val="000000"/>
                </a:solidFill>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21066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1268039"/>
          </a:xfrm>
        </p:spPr>
        <p:txBody>
          <a:bodyPr/>
          <a:lstStyle>
            <a:lvl1pPr>
              <a:defRPr sz="20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42174803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984449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2"/>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5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6201960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4"/>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3944618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2"/>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22658335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416133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81921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398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816815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5054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9186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B168E6-0780-4430-9954-5339EA5849DC}"/>
              </a:ext>
            </a:extLst>
          </p:cNvPr>
          <p:cNvSpPr>
            <a:spLocks noGrp="1"/>
          </p:cNvSpPr>
          <p:nvPr>
            <p:ph type="body" sz="quarter" idx="10"/>
          </p:nvPr>
        </p:nvSpPr>
        <p:spPr>
          <a:xfrm>
            <a:off x="585166" y="3578830"/>
            <a:ext cx="9144778" cy="325911"/>
          </a:xfrm>
        </p:spPr>
        <p:txBody>
          <a:bodyPr/>
          <a:lstStyle>
            <a:lvl1pPr marL="0" indent="0">
              <a:buNone/>
              <a:defRPr kumimoji="0" lang="en-US" sz="2353" b="0" i="0" u="none" strike="noStrike" kern="1200" cap="none" spc="-50" normalizeH="0" baseline="0" dirty="0">
                <a:ln w="3175">
                  <a:noFill/>
                </a:ln>
                <a:gradFill>
                  <a:gsLst>
                    <a:gs pos="0">
                      <a:schemeClr val="tx1"/>
                    </a:gs>
                    <a:gs pos="100000">
                      <a:schemeClr val="tx1"/>
                    </a:gs>
                  </a:gsLst>
                  <a:lin ang="5400000" scaled="0"/>
                </a:gradFill>
                <a:effectLst/>
                <a:uLnTx/>
                <a:uFillTx/>
                <a:latin typeface="+mj-lt"/>
                <a:ea typeface="+mn-ea"/>
                <a:cs typeface="Segoe UI" pitchFamily="34" charset="0"/>
              </a:defRPr>
            </a:lvl1pPr>
            <a:lvl2pPr>
              <a:defRPr/>
            </a:lvl2pPr>
            <a:lvl3pPr>
              <a:defRPr/>
            </a:lvl3pPr>
            <a:lvl4pPr>
              <a:defRPr/>
            </a:lvl4pPr>
            <a:lvl5pPr>
              <a:defRPr/>
            </a:lvl5pPr>
          </a:lstStyle>
          <a:p>
            <a:pPr marL="228556" marR="0" lvl="0" indent="-228556" algn="l" defTabSz="914367" rtl="0" eaLnBrk="1" fontAlgn="auto" latinLnBrk="0" hangingPunct="1">
              <a:lnSpc>
                <a:spcPct val="90000"/>
              </a:lnSpc>
              <a:spcBef>
                <a:spcPts val="0"/>
              </a:spcBef>
              <a:spcAft>
                <a:spcPts val="0"/>
              </a:spcAft>
              <a:buClrTx/>
              <a:buSzPct val="90000"/>
              <a:tabLst/>
              <a:defRPr/>
            </a:pPr>
            <a:r>
              <a:rPr lang="en-US"/>
              <a:t>Click to edit Master text styles</a:t>
            </a:r>
          </a:p>
        </p:txBody>
      </p:sp>
    </p:spTree>
    <p:extLst>
      <p:ext uri="{BB962C8B-B14F-4D97-AF65-F5344CB8AC3E}">
        <p14:creationId xmlns:p14="http://schemas.microsoft.com/office/powerpoint/2010/main" val="2949402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4523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905B2A-72C2-4284-9572-45F77A553463}"/>
              </a:ext>
            </a:extLst>
          </p:cNvPr>
          <p:cNvSpPr>
            <a:spLocks noGrp="1"/>
          </p:cNvSpPr>
          <p:nvPr>
            <p:ph type="pic" sz="quarter" idx="10"/>
          </p:nvPr>
        </p:nvSpPr>
        <p:spPr>
          <a:xfrm>
            <a:off x="4482125" y="1265447"/>
            <a:ext cx="7709876" cy="307777"/>
          </a:xfrm>
          <a:solidFill>
            <a:schemeClr val="bg1"/>
          </a:solidFill>
          <a:ln>
            <a:noFill/>
            <a:headEnd type="none" w="med" len="med"/>
            <a:tailEnd type="none" w="med" len="med"/>
          </a:ln>
          <a:effectLst>
            <a:outerShdw blurRad="254000" dist="50800" dir="2700000" algn="ctr" rotWithShape="0">
              <a:prstClr val="black">
                <a:alpha val="25000"/>
              </a:prstClr>
            </a:outerShdw>
          </a:effectLst>
        </p:spPr>
        <p:txBody>
          <a:bodyPr/>
          <a:lstStyle/>
          <a:p>
            <a:endParaRPr lang="en-US"/>
          </a:p>
        </p:txBody>
      </p:sp>
      <p:sp>
        <p:nvSpPr>
          <p:cNvPr id="4" name="Title 3">
            <a:extLst>
              <a:ext uri="{FF2B5EF4-FFF2-40B4-BE49-F238E27FC236}">
                <a16:creationId xmlns:a16="http://schemas.microsoft.com/office/drawing/2014/main" id="{81164826-9128-4E22-B9B3-19B465A7E6A7}"/>
              </a:ext>
            </a:extLst>
          </p:cNvPr>
          <p:cNvSpPr>
            <a:spLocks noGrp="1"/>
          </p:cNvSpPr>
          <p:nvPr>
            <p:ph type="title" hasCustomPrompt="1"/>
          </p:nvPr>
        </p:nvSpPr>
        <p:spPr>
          <a:xfrm>
            <a:off x="574816" y="1466656"/>
            <a:ext cx="2587298" cy="390854"/>
          </a:xfrm>
        </p:spPr>
        <p:txBody>
          <a:bodyPr/>
          <a:lstStyle>
            <a:lvl1pPr marL="0" algn="l" defTabSz="914367" rtl="0" eaLnBrk="1" latinLnBrk="0" hangingPunct="1">
              <a:lnSpc>
                <a:spcPct val="90000"/>
              </a:lnSpc>
              <a:spcBef>
                <a:spcPct val="0"/>
              </a:spcBef>
              <a:buNone/>
              <a:defRPr lang="en-US" sz="2800" b="1" kern="1200" cap="none" spc="0" baseline="0" dirty="0" smtClean="0">
                <a:ln>
                  <a:noFill/>
                </a:ln>
                <a:gradFill>
                  <a:gsLst>
                    <a:gs pos="0">
                      <a:schemeClr val="bg1"/>
                    </a:gs>
                    <a:gs pos="100000">
                      <a:schemeClr val="bg1"/>
                    </a:gs>
                  </a:gsLst>
                  <a:lin ang="5400000" scaled="1"/>
                </a:gradFill>
                <a:effectLst/>
                <a:latin typeface="Segoe Pro Display" panose="020B0502040504020203" pitchFamily="34" charset="0"/>
                <a:ea typeface="Roboto Condensed" panose="02000000000000000000" pitchFamily="2" charset="0"/>
                <a:cs typeface="Roboto Condensed" panose="02000000000000000000" pitchFamily="2" charset="0"/>
              </a:defRPr>
            </a:lvl1pPr>
          </a:lstStyle>
          <a:p>
            <a:r>
              <a:rPr lang="en-US"/>
              <a:t>Demo</a:t>
            </a:r>
          </a:p>
        </p:txBody>
      </p:sp>
    </p:spTree>
    <p:extLst>
      <p:ext uri="{BB962C8B-B14F-4D97-AF65-F5344CB8AC3E}">
        <p14:creationId xmlns:p14="http://schemas.microsoft.com/office/powerpoint/2010/main" val="128969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2316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577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2"/>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pPr defTabSz="914192"/>
            <a:r>
              <a:rPr lang="en-US">
                <a:solidFill>
                  <a:srgbClr val="E6E6E6">
                    <a:lumMod val="50000"/>
                  </a:srgbClr>
                </a:solidFill>
              </a:rPr>
              <a:t>© Microsoft Corporation                                                                                  					   	    	                                     Microsoft 365 </a:t>
            </a:r>
          </a:p>
        </p:txBody>
      </p:sp>
    </p:spTree>
    <p:extLst>
      <p:ext uri="{BB962C8B-B14F-4D97-AF65-F5344CB8AC3E}">
        <p14:creationId xmlns:p14="http://schemas.microsoft.com/office/powerpoint/2010/main" val="33127028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9"/>
            <a:ext cx="11018520" cy="430887"/>
          </a:xfrm>
        </p:spPr>
        <p:txBody>
          <a:bodyPr/>
          <a:lstStyle>
            <a:lvl1pPr>
              <a:defRPr b="1">
                <a:gradFill>
                  <a:gsLst>
                    <a:gs pos="1250">
                      <a:schemeClr val="tx1"/>
                    </a:gs>
                    <a:gs pos="100000">
                      <a:schemeClr val="tx1"/>
                    </a:gs>
                  </a:gsLst>
                  <a:lin ang="5400000" scaled="0"/>
                </a:gradFill>
                <a:latin typeface="Segoe Pro Display" panose="020B0502040504020203" pitchFamily="34" charset="0"/>
                <a:ea typeface="Segoe Pro Display" panose="020B0502040504020203"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Pro Display" panose="020B0502040504020203" pitchFamily="34" charset="0"/>
              </a:defRPr>
            </a:lvl1pPr>
            <a:lvl2pPr>
              <a:defRPr sz="2800">
                <a:latin typeface="Segoe Pro Display" panose="020B0502040504020203" pitchFamily="34" charset="0"/>
              </a:defRPr>
            </a:lvl2pPr>
            <a:lvl3pPr>
              <a:defRPr sz="2400">
                <a:latin typeface="Segoe Pro Display" panose="020B0502040504020203" pitchFamily="34" charset="0"/>
              </a:defRPr>
            </a:lvl3pPr>
            <a:lvl4pPr>
              <a:defRPr sz="2000">
                <a:latin typeface="Segoe Pro Display" panose="020B0502040504020203" pitchFamily="34" charset="0"/>
              </a:defRPr>
            </a:lvl4pPr>
            <a:lvl5pPr>
              <a:defRPr sz="1800">
                <a:latin typeface="Segoe Pro Display" panose="020B05020405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158194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chemeClr val="bg1"/>
                    </a:gs>
                    <a:gs pos="100000">
                      <a:schemeClr val="bg1"/>
                    </a:gs>
                  </a:gsLst>
                  <a:lin ang="5400000" scaled="0"/>
                </a:gradFill>
                <a:effectLst/>
                <a:uLnTx/>
                <a:uFillTx/>
                <a:latin typeface="Segoe UI"/>
                <a:ea typeface="+mn-ea"/>
                <a:cs typeface="Segoe UI" pitchFamily="34" charset="0"/>
              </a:rPr>
              <a:t>© Copyright Microsoft Corporation. All rights reserved. </a:t>
            </a:r>
          </a:p>
        </p:txBody>
      </p:sp>
      <p:pic>
        <p:nvPicPr>
          <p:cNvPr id="9" name="Picture 8" descr="Graphical user interface&#10;&#10;Description automatically generated">
            <a:extLst>
              <a:ext uri="{FF2B5EF4-FFF2-40B4-BE49-F238E27FC236}">
                <a16:creationId xmlns:a16="http://schemas.microsoft.com/office/drawing/2014/main" id="{10C80A62-AF95-462B-93A7-A6880962D2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3554664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1" y="1599723"/>
            <a:ext cx="3490176" cy="3099393"/>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1" y="545447"/>
            <a:ext cx="11306469" cy="403137"/>
          </a:xfrm>
        </p:spPr>
        <p:txBody>
          <a:bodyPr wrap="square" lIns="0" tIns="0" rIns="0" bIns="0">
            <a:spAutoFit/>
          </a:bodyPr>
          <a:lstStyle>
            <a:lvl1pPr>
              <a:lnSpc>
                <a:spcPts val="3136"/>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1"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3"/>
            <a:ext cx="3465305"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2" y="1599723"/>
            <a:ext cx="3618381" cy="3099393"/>
          </a:xfrm>
          <a:blipFill>
            <a:blip r:embed="rId3"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123425586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414232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261646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43343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71790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42715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0681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24060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09456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99668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10326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03896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67134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939732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14944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74492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706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638003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912759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98540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69249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06794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48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2892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468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63612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99107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49476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20796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4917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23091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70614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2963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21251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37113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41415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073726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39166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4992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50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29427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9248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12243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30119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79509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9386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0539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307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09199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404312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21509999"/>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185257857"/>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902325825"/>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3740474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2320106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67592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382371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100793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73946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5340430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28881483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398885227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585808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4646646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727005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2847224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8329107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3679880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45423991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172214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80873865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35764065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36307713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21791404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4402636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1234091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2137106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803443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091447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023743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095361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694396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7331402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3416386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784755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98501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0286505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461521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932325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2710678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42423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0564758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88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7613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9319168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78465309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71140036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6535696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5861550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797845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1669528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39894691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695386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129760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556483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4454769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49461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93014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38561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60689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3325363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11886296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1821816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511369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6205393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388989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09393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26588938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70608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3944455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135930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27155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187494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821278011"/>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5512262"/>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7/5/2022</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747717497"/>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6831193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06569790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669406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5189349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764"/>
        <p:cNvGrpSpPr/>
        <p:nvPr/>
      </p:nvGrpSpPr>
      <p:grpSpPr>
        <a:xfrm>
          <a:off x="0" y="0"/>
          <a:ext cx="0" cy="0"/>
          <a:chOff x="0" y="0"/>
          <a:chExt cx="0" cy="0"/>
        </a:xfrm>
      </p:grpSpPr>
      <p:sp>
        <p:nvSpPr>
          <p:cNvPr id="765" name="Google Shape;765;p41"/>
          <p:cNvSpPr txBox="1">
            <a:spLocks noGrp="1"/>
          </p:cNvSpPr>
          <p:nvPr>
            <p:ph type="body" idx="1"/>
          </p:nvPr>
        </p:nvSpPr>
        <p:spPr>
          <a:xfrm>
            <a:off x="413004" y="1371600"/>
            <a:ext cx="11365992" cy="1479379"/>
          </a:xfrm>
          <a:prstGeom prst="rect">
            <a:avLst/>
          </a:prstGeom>
          <a:noFill/>
          <a:ln>
            <a:noFill/>
          </a:ln>
        </p:spPr>
        <p:txBody>
          <a:bodyPr spcFirstLastPara="1" wrap="square" lIns="0" tIns="0" rIns="0" bIns="0" anchor="t" anchorCtr="0">
            <a:spAutoFit/>
          </a:bodyPr>
          <a:lstStyle>
            <a:lvl1pPr marL="457200" lvl="0" indent="-381000" algn="l">
              <a:lnSpc>
                <a:spcPct val="90000"/>
              </a:lnSpc>
              <a:spcBef>
                <a:spcPts val="1200"/>
              </a:spcBef>
              <a:spcAft>
                <a:spcPts val="0"/>
              </a:spcAft>
              <a:buSzPts val="2400"/>
              <a:buChar char="•"/>
              <a:defRPr sz="2400"/>
            </a:lvl1pPr>
            <a:lvl2pPr marL="914400" lvl="1" indent="-355600" algn="l">
              <a:lnSpc>
                <a:spcPct val="90000"/>
              </a:lnSpc>
              <a:spcBef>
                <a:spcPts val="400"/>
              </a:spcBef>
              <a:spcAft>
                <a:spcPts val="0"/>
              </a:spcAft>
              <a:buSzPts val="2000"/>
              <a:buFont typeface="Arial"/>
              <a:buChar char="–"/>
              <a:defRPr/>
            </a:lvl2pPr>
            <a:lvl3pPr marL="1371600" lvl="2" indent="-342900" algn="l">
              <a:lnSpc>
                <a:spcPct val="90000"/>
              </a:lnSpc>
              <a:spcBef>
                <a:spcPts val="400"/>
              </a:spcBef>
              <a:spcAft>
                <a:spcPts val="0"/>
              </a:spcAft>
              <a:buSzPts val="1800"/>
              <a:buFont typeface="Arial"/>
              <a:buChar char="–"/>
              <a:defRPr sz="1800"/>
            </a:lvl3pPr>
            <a:lvl4pPr marL="1828800" lvl="3" indent="-330200" algn="l">
              <a:lnSpc>
                <a:spcPct val="90000"/>
              </a:lnSpc>
              <a:spcBef>
                <a:spcPts val="400"/>
              </a:spcBef>
              <a:spcAft>
                <a:spcPts val="0"/>
              </a:spcAft>
              <a:buSzPts val="1600"/>
              <a:buFont typeface="Arial"/>
              <a:buChar char="–"/>
              <a:defRPr/>
            </a:lvl4pPr>
            <a:lvl5pPr marL="2286000" lvl="4" indent="-317500" algn="l">
              <a:lnSpc>
                <a:spcPct val="90000"/>
              </a:lnSpc>
              <a:spcBef>
                <a:spcPts val="400"/>
              </a:spcBef>
              <a:spcAft>
                <a:spcPts val="0"/>
              </a:spcAft>
              <a:buSzPts val="1400"/>
              <a:buFont typeface="Arial"/>
              <a:buChar char="–"/>
              <a:defRPr sz="14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66" name="Google Shape;766;p41"/>
          <p:cNvSpPr txBox="1">
            <a:spLocks noGrp="1"/>
          </p:cNvSpPr>
          <p:nvPr>
            <p:ph type="title"/>
          </p:nvPr>
        </p:nvSpPr>
        <p:spPr>
          <a:xfrm>
            <a:off x="413004" y="551311"/>
            <a:ext cx="11365992" cy="36625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71044885"/>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72141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7275521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4814124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58029F9E-5BB6-4410-B2DB-368A57F94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10485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2205183E-78EC-4105-B2DF-7106E9E781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51591"/>
            <a:ext cx="1240343" cy="266461"/>
          </a:xfrm>
          <a:prstGeom prst="rect">
            <a:avLst/>
          </a:prstGeom>
        </p:spPr>
      </p:pic>
    </p:spTree>
    <p:extLst>
      <p:ext uri="{BB962C8B-B14F-4D97-AF65-F5344CB8AC3E}">
        <p14:creationId xmlns:p14="http://schemas.microsoft.com/office/powerpoint/2010/main" val="411916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6A20F039-BAC1-4791-89ED-CC747C1EC8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6" b="7816"/>
          <a:stretch/>
        </p:blipFill>
        <p:spPr>
          <a:xfrm>
            <a:off x="0" y="-972"/>
            <a:ext cx="12191999" cy="6858973"/>
          </a:xfrm>
          <a:prstGeom prst="rect">
            <a:avLst/>
          </a:prstGeom>
        </p:spPr>
      </p:pic>
      <p:sp>
        <p:nvSpPr>
          <p:cNvPr id="12" name="Rectangle 11">
            <a:extLst>
              <a:ext uri="{FF2B5EF4-FFF2-40B4-BE49-F238E27FC236}">
                <a16:creationId xmlns:a16="http://schemas.microsoft.com/office/drawing/2014/main" id="{56A7267D-F859-44A5-8D5B-9AF67DD50DCC}"/>
              </a:ext>
            </a:extLst>
          </p:cNvPr>
          <p:cNvSpPr/>
          <p:nvPr userDrawn="1"/>
        </p:nvSpPr>
        <p:spPr bwMode="auto">
          <a:xfrm>
            <a:off x="1" y="-972"/>
            <a:ext cx="12191999" cy="6858000"/>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4" name="Picture 13">
            <a:extLst>
              <a:ext uri="{FF2B5EF4-FFF2-40B4-BE49-F238E27FC236}">
                <a16:creationId xmlns:a16="http://schemas.microsoft.com/office/drawing/2014/main" id="{81D0F1FF-0822-4D5A-9B05-E89E27A1BC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180781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5046281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3" name="Slide Number Placeholder 2">
            <a:extLst>
              <a:ext uri="{FF2B5EF4-FFF2-40B4-BE49-F238E27FC236}">
                <a16:creationId xmlns:a16="http://schemas.microsoft.com/office/drawing/2014/main" id="{3E254A6F-F4CF-4C86-9E9E-4461E4F112D7}"/>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59270369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01159928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2" name="Slide Number Placeholder 1">
            <a:extLst>
              <a:ext uri="{FF2B5EF4-FFF2-40B4-BE49-F238E27FC236}">
                <a16:creationId xmlns:a16="http://schemas.microsoft.com/office/drawing/2014/main" id="{89A9BA21-36F9-4E41-8D46-75EB4875289C}"/>
              </a:ext>
            </a:extLst>
          </p:cNvPr>
          <p:cNvSpPr>
            <a:spLocks noGrp="1"/>
          </p:cNvSpPr>
          <p:nvPr>
            <p:ph type="sldNum" sz="quarter" idx="13"/>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74529661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7810305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2" name="Slide Number Placeholder 1">
            <a:extLst>
              <a:ext uri="{FF2B5EF4-FFF2-40B4-BE49-F238E27FC236}">
                <a16:creationId xmlns:a16="http://schemas.microsoft.com/office/drawing/2014/main" id="{A7D9A213-5873-405D-BA77-55A2A9FB6578}"/>
              </a:ext>
            </a:extLst>
          </p:cNvPr>
          <p:cNvSpPr>
            <a:spLocks noGrp="1"/>
          </p:cNvSpPr>
          <p:nvPr>
            <p:ph type="sldNum" sz="quarter" idx="12"/>
          </p:nvPr>
        </p:nvSpPr>
        <p:spPr/>
        <p:txBody>
          <a:bodyPr/>
          <a:lstStyle>
            <a:lvl1pPr>
              <a:defRPr>
                <a:solidFill>
                  <a:schemeClr val="bg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170238445"/>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2" name="Slide Number Placeholder 1">
            <a:extLst>
              <a:ext uri="{FF2B5EF4-FFF2-40B4-BE49-F238E27FC236}">
                <a16:creationId xmlns:a16="http://schemas.microsoft.com/office/drawing/2014/main" id="{6D7EA6D8-E472-4FF2-9E42-E8A58227CC7E}"/>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37851994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2" name="Slide Number Placeholder 1">
            <a:extLst>
              <a:ext uri="{FF2B5EF4-FFF2-40B4-BE49-F238E27FC236}">
                <a16:creationId xmlns:a16="http://schemas.microsoft.com/office/drawing/2014/main" id="{D676B7DD-5B54-44AF-A029-1082D1AE0ACC}"/>
              </a:ext>
            </a:extLst>
          </p:cNvPr>
          <p:cNvSpPr>
            <a:spLocks noGrp="1"/>
          </p:cNvSpPr>
          <p:nvPr>
            <p:ph type="sldNum" sz="quarter" idx="1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00566675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Slide Number Placeholder 1">
            <a:extLst>
              <a:ext uri="{FF2B5EF4-FFF2-40B4-BE49-F238E27FC236}">
                <a16:creationId xmlns:a16="http://schemas.microsoft.com/office/drawing/2014/main" id="{056C88CC-0A2C-402A-8D3A-2E0292A3CA0B}"/>
              </a:ext>
            </a:extLst>
          </p:cNvPr>
          <p:cNvSpPr>
            <a:spLocks noGrp="1"/>
          </p:cNvSpPr>
          <p:nvPr>
            <p:ph type="sldNum" sz="quarter" idx="2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53517929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Slide Number Placeholder 2">
            <a:extLst>
              <a:ext uri="{FF2B5EF4-FFF2-40B4-BE49-F238E27FC236}">
                <a16:creationId xmlns:a16="http://schemas.microsoft.com/office/drawing/2014/main" id="{C1224FDA-587C-4945-9D69-D5D2AFC00D3A}"/>
              </a:ext>
            </a:extLst>
          </p:cNvPr>
          <p:cNvSpPr>
            <a:spLocks noGrp="1"/>
          </p:cNvSpPr>
          <p:nvPr>
            <p:ph type="sldNum" sz="quarter" idx="2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09610877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e_Case study">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281363" y="2"/>
            <a:ext cx="7910636" cy="6858000"/>
          </a:xfrm>
          <a:noFill/>
        </p:spPr>
        <p:txBody>
          <a:bodyPr anchor="ctr">
            <a:noAutofit/>
          </a:bodyPr>
          <a:lstStyle>
            <a:lvl1pPr marL="0" indent="0" algn="ctr">
              <a:buNone/>
              <a:defRPr sz="1568">
                <a:solidFill>
                  <a:schemeClr val="accent3"/>
                </a:solidFill>
                <a:latin typeface="+mn-lt"/>
              </a:defRPr>
            </a:lvl1pPr>
          </a:lstStyle>
          <a:p>
            <a:r>
              <a:rPr lang="en-US"/>
              <a:t>Photo</a:t>
            </a:r>
          </a:p>
        </p:txBody>
      </p:sp>
      <p:sp>
        <p:nvSpPr>
          <p:cNvPr id="12" name="Text Placeholder 3">
            <a:extLst>
              <a:ext uri="{FF2B5EF4-FFF2-40B4-BE49-F238E27FC236}">
                <a16:creationId xmlns:a16="http://schemas.microsoft.com/office/drawing/2014/main" id="{ABC5E970-C5A5-4BA2-A812-2E50AB66E6DF}"/>
              </a:ext>
            </a:extLst>
          </p:cNvPr>
          <p:cNvSpPr>
            <a:spLocks noGrp="1"/>
          </p:cNvSpPr>
          <p:nvPr>
            <p:ph type="body" sz="quarter" idx="11" hasCustomPrompt="1"/>
          </p:nvPr>
        </p:nvSpPr>
        <p:spPr>
          <a:xfrm>
            <a:off x="428090" y="1804301"/>
            <a:ext cx="3441477" cy="2915050"/>
          </a:xfrm>
        </p:spPr>
        <p:txBody>
          <a:bodyPr wrap="square" lIns="0" tIns="0" rIns="0" bIns="0">
            <a:noAutofit/>
          </a:bodyPr>
          <a:lstStyle>
            <a:lvl1pPr marL="98602" marR="0" indent="-179277"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Lorem ipsum dolor sit amet, consectetur adipiscing elit, sed do eiusmod tempor incididunt ut labore et dolore magna aliqua. Ut enim ad minim veniam, quis nostrud exercitation ullamco laboris nisi ut aliquip ex ea commodo consequat. Duis aute irure dolor in reprehenderit.”</a:t>
            </a:r>
          </a:p>
        </p:txBody>
      </p:sp>
      <p:sp>
        <p:nvSpPr>
          <p:cNvPr id="15" name="Text Placeholder 14">
            <a:extLst>
              <a:ext uri="{FF2B5EF4-FFF2-40B4-BE49-F238E27FC236}">
                <a16:creationId xmlns:a16="http://schemas.microsoft.com/office/drawing/2014/main" id="{F175CA9B-4B0F-4972-B21D-A032DD90D562}"/>
              </a:ext>
            </a:extLst>
          </p:cNvPr>
          <p:cNvSpPr>
            <a:spLocks noGrp="1"/>
          </p:cNvSpPr>
          <p:nvPr>
            <p:ph type="body" sz="quarter" idx="15" hasCustomPrompt="1"/>
          </p:nvPr>
        </p:nvSpPr>
        <p:spPr>
          <a:xfrm>
            <a:off x="428091" y="5419470"/>
            <a:ext cx="3441477" cy="482831"/>
          </a:xfrm>
        </p:spPr>
        <p:txBody>
          <a:bodyPr/>
          <a:lstStyle>
            <a:lvl1pPr marL="98602">
              <a:lnSpc>
                <a:spcPct val="100000"/>
              </a:lnSpc>
              <a:defRPr sz="1568">
                <a:solidFill>
                  <a:schemeClr val="accent1"/>
                </a:solidFill>
                <a:latin typeface="+mj-lt"/>
              </a:defRPr>
            </a:lvl1pPr>
          </a:lstStyle>
          <a:p>
            <a:pPr lvl="0"/>
            <a:r>
              <a:rPr lang="en-US"/>
              <a:t>Name</a:t>
            </a:r>
          </a:p>
          <a:p>
            <a:pPr lvl="0"/>
            <a:r>
              <a:rPr lang="en-US"/>
              <a:t>Title, Company</a:t>
            </a:r>
          </a:p>
        </p:txBody>
      </p:sp>
      <p:sp>
        <p:nvSpPr>
          <p:cNvPr id="16" name="Picture Placeholder 3">
            <a:extLst>
              <a:ext uri="{FF2B5EF4-FFF2-40B4-BE49-F238E27FC236}">
                <a16:creationId xmlns:a16="http://schemas.microsoft.com/office/drawing/2014/main" id="{E542DA7C-937B-4DA8-8527-793D71221530}"/>
              </a:ext>
            </a:extLst>
          </p:cNvPr>
          <p:cNvSpPr>
            <a:spLocks noGrp="1"/>
          </p:cNvSpPr>
          <p:nvPr>
            <p:ph type="pic" sz="quarter" idx="16" hasCustomPrompt="1"/>
          </p:nvPr>
        </p:nvSpPr>
        <p:spPr>
          <a:xfrm>
            <a:off x="428090" y="729065"/>
            <a:ext cx="1699096" cy="450773"/>
          </a:xfrm>
          <a:noFill/>
        </p:spPr>
        <p:txBody>
          <a:bodyPr anchor="ctr">
            <a:noAutofit/>
          </a:bodyPr>
          <a:lstStyle>
            <a:lvl1pPr marL="0" indent="0" algn="ctr">
              <a:buNone/>
              <a:defRPr sz="1568">
                <a:solidFill>
                  <a:schemeClr val="accent3"/>
                </a:solidFill>
                <a:latin typeface="+mn-lt"/>
              </a:defRPr>
            </a:lvl1pPr>
          </a:lstStyle>
          <a:p>
            <a:r>
              <a:rPr lang="en-US"/>
              <a:t>Logo</a:t>
            </a:r>
          </a:p>
        </p:txBody>
      </p:sp>
      <p:sp>
        <p:nvSpPr>
          <p:cNvPr id="2" name="Slide Number Placeholder 1">
            <a:extLst>
              <a:ext uri="{FF2B5EF4-FFF2-40B4-BE49-F238E27FC236}">
                <a16:creationId xmlns:a16="http://schemas.microsoft.com/office/drawing/2014/main" id="{251A4C1D-614E-4CBF-B5B2-C6EB6C87D69A}"/>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391779694"/>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6891248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Slide Number Placeholder 1">
            <a:extLst>
              <a:ext uri="{FF2B5EF4-FFF2-40B4-BE49-F238E27FC236}">
                <a16:creationId xmlns:a16="http://schemas.microsoft.com/office/drawing/2014/main" id="{26B2B0D1-05B5-4948-AEF7-4EF5C7EA51AB}"/>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2409931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2074686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092607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7345D5-4254-462E-9CFC-AD2FCC736C88}"/>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86798393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A2BC6A-B57F-4050-B310-6712D5C80B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74754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0FE3525F-A8EF-41F7-8571-167C28030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3632265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9534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8060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31698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541688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14279859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1188554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4678612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18995718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12131572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565338836"/>
      </p:ext>
    </p:extLst>
  </p:cSld>
  <p:clrMapOvr>
    <a:masterClrMapping/>
  </p:clrMapOvr>
  <p:transition>
    <p:fade/>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227759684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50087412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975347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60551035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37444826"/>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image" Target="../media/image68.emf"/><Relationship Id="rId3" Type="http://schemas.openxmlformats.org/officeDocument/2006/relationships/slideLayout" Target="../slideLayouts/slideLayout298.xml"/><Relationship Id="rId21" Type="http://schemas.openxmlformats.org/officeDocument/2006/relationships/slideLayout" Target="../slideLayouts/slideLayout316.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oleObject" Target="../embeddings/oleObject1.bin"/><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tags" Target="../tags/tag2.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theme" Target="../theme/theme10.xml"/><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25.xml"/><Relationship Id="rId13" Type="http://schemas.openxmlformats.org/officeDocument/2006/relationships/slideLayout" Target="../slideLayouts/slideLayout330.xml"/><Relationship Id="rId18" Type="http://schemas.openxmlformats.org/officeDocument/2006/relationships/slideLayout" Target="../slideLayouts/slideLayout335.xml"/><Relationship Id="rId26" Type="http://schemas.openxmlformats.org/officeDocument/2006/relationships/theme" Target="../theme/theme11.xml"/><Relationship Id="rId3" Type="http://schemas.openxmlformats.org/officeDocument/2006/relationships/slideLayout" Target="../slideLayouts/slideLayout320.xml"/><Relationship Id="rId21" Type="http://schemas.openxmlformats.org/officeDocument/2006/relationships/slideLayout" Target="../slideLayouts/slideLayout338.xml"/><Relationship Id="rId7" Type="http://schemas.openxmlformats.org/officeDocument/2006/relationships/slideLayout" Target="../slideLayouts/slideLayout324.xml"/><Relationship Id="rId12" Type="http://schemas.openxmlformats.org/officeDocument/2006/relationships/slideLayout" Target="../slideLayouts/slideLayout329.xml"/><Relationship Id="rId17" Type="http://schemas.openxmlformats.org/officeDocument/2006/relationships/slideLayout" Target="../slideLayouts/slideLayout334.xml"/><Relationship Id="rId25" Type="http://schemas.openxmlformats.org/officeDocument/2006/relationships/slideLayout" Target="../slideLayouts/slideLayout342.xml"/><Relationship Id="rId2" Type="http://schemas.openxmlformats.org/officeDocument/2006/relationships/slideLayout" Target="../slideLayouts/slideLayout319.xml"/><Relationship Id="rId16" Type="http://schemas.openxmlformats.org/officeDocument/2006/relationships/slideLayout" Target="../slideLayouts/slideLayout333.xml"/><Relationship Id="rId20" Type="http://schemas.openxmlformats.org/officeDocument/2006/relationships/slideLayout" Target="../slideLayouts/slideLayout337.xml"/><Relationship Id="rId1" Type="http://schemas.openxmlformats.org/officeDocument/2006/relationships/slideLayout" Target="../slideLayouts/slideLayout318.xml"/><Relationship Id="rId6" Type="http://schemas.openxmlformats.org/officeDocument/2006/relationships/slideLayout" Target="../slideLayouts/slideLayout323.xml"/><Relationship Id="rId11" Type="http://schemas.openxmlformats.org/officeDocument/2006/relationships/slideLayout" Target="../slideLayouts/slideLayout328.xml"/><Relationship Id="rId24" Type="http://schemas.openxmlformats.org/officeDocument/2006/relationships/slideLayout" Target="../slideLayouts/slideLayout341.xml"/><Relationship Id="rId5" Type="http://schemas.openxmlformats.org/officeDocument/2006/relationships/slideLayout" Target="../slideLayouts/slideLayout322.xml"/><Relationship Id="rId15" Type="http://schemas.openxmlformats.org/officeDocument/2006/relationships/slideLayout" Target="../slideLayouts/slideLayout332.xml"/><Relationship Id="rId23" Type="http://schemas.openxmlformats.org/officeDocument/2006/relationships/slideLayout" Target="../slideLayouts/slideLayout340.xml"/><Relationship Id="rId10" Type="http://schemas.openxmlformats.org/officeDocument/2006/relationships/slideLayout" Target="../slideLayouts/slideLayout327.xml"/><Relationship Id="rId19" Type="http://schemas.openxmlformats.org/officeDocument/2006/relationships/slideLayout" Target="../slideLayouts/slideLayout336.xml"/><Relationship Id="rId4" Type="http://schemas.openxmlformats.org/officeDocument/2006/relationships/slideLayout" Target="../slideLayouts/slideLayout321.xml"/><Relationship Id="rId9" Type="http://schemas.openxmlformats.org/officeDocument/2006/relationships/slideLayout" Target="../slideLayouts/slideLayout326.xml"/><Relationship Id="rId14" Type="http://schemas.openxmlformats.org/officeDocument/2006/relationships/slideLayout" Target="../slideLayouts/slideLayout331.xml"/><Relationship Id="rId22" Type="http://schemas.openxmlformats.org/officeDocument/2006/relationships/slideLayout" Target="../slideLayouts/slideLayout339.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slideLayout" Target="../slideLayouts/slideLayout368.xml"/><Relationship Id="rId39" Type="http://schemas.openxmlformats.org/officeDocument/2006/relationships/theme" Target="../theme/theme12.xml"/><Relationship Id="rId21" Type="http://schemas.openxmlformats.org/officeDocument/2006/relationships/slideLayout" Target="../slideLayouts/slideLayout363.xml"/><Relationship Id="rId34" Type="http://schemas.openxmlformats.org/officeDocument/2006/relationships/slideLayout" Target="../slideLayouts/slideLayout376.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slideLayout" Target="../slideLayouts/slideLayout367.xml"/><Relationship Id="rId33" Type="http://schemas.openxmlformats.org/officeDocument/2006/relationships/slideLayout" Target="../slideLayouts/slideLayout375.xml"/><Relationship Id="rId38" Type="http://schemas.openxmlformats.org/officeDocument/2006/relationships/slideLayout" Target="../slideLayouts/slideLayout380.xml"/><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29" Type="http://schemas.openxmlformats.org/officeDocument/2006/relationships/slideLayout" Target="../slideLayouts/slideLayout371.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32" Type="http://schemas.openxmlformats.org/officeDocument/2006/relationships/slideLayout" Target="../slideLayouts/slideLayout374.xml"/><Relationship Id="rId37" Type="http://schemas.openxmlformats.org/officeDocument/2006/relationships/slideLayout" Target="../slideLayouts/slideLayout379.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28" Type="http://schemas.openxmlformats.org/officeDocument/2006/relationships/slideLayout" Target="../slideLayouts/slideLayout370.xml"/><Relationship Id="rId36" Type="http://schemas.openxmlformats.org/officeDocument/2006/relationships/slideLayout" Target="../slideLayouts/slideLayout378.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31" Type="http://schemas.openxmlformats.org/officeDocument/2006/relationships/slideLayout" Target="../slideLayouts/slideLayout373.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 Id="rId27" Type="http://schemas.openxmlformats.org/officeDocument/2006/relationships/slideLayout" Target="../slideLayouts/slideLayout369.xml"/><Relationship Id="rId30" Type="http://schemas.openxmlformats.org/officeDocument/2006/relationships/slideLayout" Target="../slideLayouts/slideLayout372.xml"/><Relationship Id="rId35" Type="http://schemas.openxmlformats.org/officeDocument/2006/relationships/slideLayout" Target="../slideLayouts/slideLayout377.xml"/><Relationship Id="rId8" Type="http://schemas.openxmlformats.org/officeDocument/2006/relationships/slideLayout" Target="../slideLayouts/slideLayout350.xml"/><Relationship Id="rId3" Type="http://schemas.openxmlformats.org/officeDocument/2006/relationships/slideLayout" Target="../slideLayouts/slideLayout345.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93.xml"/><Relationship Id="rId18" Type="http://schemas.openxmlformats.org/officeDocument/2006/relationships/slideLayout" Target="../slideLayouts/slideLayout398.xml"/><Relationship Id="rId26" Type="http://schemas.openxmlformats.org/officeDocument/2006/relationships/slideLayout" Target="../slideLayouts/slideLayout406.xml"/><Relationship Id="rId21" Type="http://schemas.openxmlformats.org/officeDocument/2006/relationships/slideLayout" Target="../slideLayouts/slideLayout401.xml"/><Relationship Id="rId34" Type="http://schemas.openxmlformats.org/officeDocument/2006/relationships/slideLayout" Target="../slideLayouts/slideLayout414.xml"/><Relationship Id="rId7" Type="http://schemas.openxmlformats.org/officeDocument/2006/relationships/slideLayout" Target="../slideLayouts/slideLayout387.xml"/><Relationship Id="rId12" Type="http://schemas.openxmlformats.org/officeDocument/2006/relationships/slideLayout" Target="../slideLayouts/slideLayout392.xml"/><Relationship Id="rId17" Type="http://schemas.openxmlformats.org/officeDocument/2006/relationships/slideLayout" Target="../slideLayouts/slideLayout397.xml"/><Relationship Id="rId25" Type="http://schemas.openxmlformats.org/officeDocument/2006/relationships/slideLayout" Target="../slideLayouts/slideLayout405.xml"/><Relationship Id="rId33" Type="http://schemas.openxmlformats.org/officeDocument/2006/relationships/slideLayout" Target="../slideLayouts/slideLayout413.xml"/><Relationship Id="rId2" Type="http://schemas.openxmlformats.org/officeDocument/2006/relationships/slideLayout" Target="../slideLayouts/slideLayout382.xml"/><Relationship Id="rId16" Type="http://schemas.openxmlformats.org/officeDocument/2006/relationships/slideLayout" Target="../slideLayouts/slideLayout396.xml"/><Relationship Id="rId20" Type="http://schemas.openxmlformats.org/officeDocument/2006/relationships/slideLayout" Target="../slideLayouts/slideLayout400.xml"/><Relationship Id="rId29" Type="http://schemas.openxmlformats.org/officeDocument/2006/relationships/slideLayout" Target="../slideLayouts/slideLayout409.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slideLayout" Target="../slideLayouts/slideLayout391.xml"/><Relationship Id="rId24" Type="http://schemas.openxmlformats.org/officeDocument/2006/relationships/slideLayout" Target="../slideLayouts/slideLayout404.xml"/><Relationship Id="rId32" Type="http://schemas.openxmlformats.org/officeDocument/2006/relationships/slideLayout" Target="../slideLayouts/slideLayout412.xml"/><Relationship Id="rId37" Type="http://schemas.openxmlformats.org/officeDocument/2006/relationships/image" Target="../media/image6.emf"/><Relationship Id="rId5" Type="http://schemas.openxmlformats.org/officeDocument/2006/relationships/slideLayout" Target="../slideLayouts/slideLayout385.xml"/><Relationship Id="rId15" Type="http://schemas.openxmlformats.org/officeDocument/2006/relationships/slideLayout" Target="../slideLayouts/slideLayout395.xml"/><Relationship Id="rId23" Type="http://schemas.openxmlformats.org/officeDocument/2006/relationships/slideLayout" Target="../slideLayouts/slideLayout403.xml"/><Relationship Id="rId28" Type="http://schemas.openxmlformats.org/officeDocument/2006/relationships/slideLayout" Target="../slideLayouts/slideLayout408.xml"/><Relationship Id="rId36" Type="http://schemas.openxmlformats.org/officeDocument/2006/relationships/theme" Target="../theme/theme13.xml"/><Relationship Id="rId10" Type="http://schemas.openxmlformats.org/officeDocument/2006/relationships/slideLayout" Target="../slideLayouts/slideLayout390.xml"/><Relationship Id="rId19" Type="http://schemas.openxmlformats.org/officeDocument/2006/relationships/slideLayout" Target="../slideLayouts/slideLayout399.xml"/><Relationship Id="rId31" Type="http://schemas.openxmlformats.org/officeDocument/2006/relationships/slideLayout" Target="../slideLayouts/slideLayout411.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slideLayout" Target="../slideLayouts/slideLayout394.xml"/><Relationship Id="rId22" Type="http://schemas.openxmlformats.org/officeDocument/2006/relationships/slideLayout" Target="../slideLayouts/slideLayout402.xml"/><Relationship Id="rId27" Type="http://schemas.openxmlformats.org/officeDocument/2006/relationships/slideLayout" Target="../slideLayouts/slideLayout407.xml"/><Relationship Id="rId30" Type="http://schemas.openxmlformats.org/officeDocument/2006/relationships/slideLayout" Target="../slideLayouts/slideLayout410.xml"/><Relationship Id="rId35" Type="http://schemas.openxmlformats.org/officeDocument/2006/relationships/slideLayout" Target="../slideLayouts/slideLayout415.xml"/><Relationship Id="rId8" Type="http://schemas.openxmlformats.org/officeDocument/2006/relationships/slideLayout" Target="../slideLayouts/slideLayout388.xml"/><Relationship Id="rId3" Type="http://schemas.openxmlformats.org/officeDocument/2006/relationships/slideLayout" Target="../slideLayouts/slideLayout383.xml"/></Relationships>
</file>

<file path=ppt/slideMasters/_rels/slideMaster14.xml.rels><?xml version="1.0" encoding="UTF-8" standalone="yes"?>
<Relationships xmlns="http://schemas.openxmlformats.org/package/2006/relationships"><Relationship Id="rId26" Type="http://schemas.openxmlformats.org/officeDocument/2006/relationships/slideLayout" Target="../slideLayouts/slideLayout441.xml"/><Relationship Id="rId21" Type="http://schemas.openxmlformats.org/officeDocument/2006/relationships/slideLayout" Target="../slideLayouts/slideLayout436.xml"/><Relationship Id="rId42" Type="http://schemas.openxmlformats.org/officeDocument/2006/relationships/slideLayout" Target="../slideLayouts/slideLayout457.xml"/><Relationship Id="rId47" Type="http://schemas.openxmlformats.org/officeDocument/2006/relationships/slideLayout" Target="../slideLayouts/slideLayout462.xml"/><Relationship Id="rId63" Type="http://schemas.openxmlformats.org/officeDocument/2006/relationships/slideLayout" Target="../slideLayouts/slideLayout478.xml"/><Relationship Id="rId68" Type="http://schemas.openxmlformats.org/officeDocument/2006/relationships/slideLayout" Target="../slideLayouts/slideLayout483.xml"/><Relationship Id="rId2" Type="http://schemas.openxmlformats.org/officeDocument/2006/relationships/slideLayout" Target="../slideLayouts/slideLayout417.xml"/><Relationship Id="rId16" Type="http://schemas.openxmlformats.org/officeDocument/2006/relationships/slideLayout" Target="../slideLayouts/slideLayout431.xml"/><Relationship Id="rId29" Type="http://schemas.openxmlformats.org/officeDocument/2006/relationships/slideLayout" Target="../slideLayouts/slideLayout444.xml"/><Relationship Id="rId11" Type="http://schemas.openxmlformats.org/officeDocument/2006/relationships/slideLayout" Target="../slideLayouts/slideLayout426.xml"/><Relationship Id="rId24" Type="http://schemas.openxmlformats.org/officeDocument/2006/relationships/slideLayout" Target="../slideLayouts/slideLayout439.xml"/><Relationship Id="rId32" Type="http://schemas.openxmlformats.org/officeDocument/2006/relationships/slideLayout" Target="../slideLayouts/slideLayout447.xml"/><Relationship Id="rId37" Type="http://schemas.openxmlformats.org/officeDocument/2006/relationships/slideLayout" Target="../slideLayouts/slideLayout452.xml"/><Relationship Id="rId40" Type="http://schemas.openxmlformats.org/officeDocument/2006/relationships/slideLayout" Target="../slideLayouts/slideLayout455.xml"/><Relationship Id="rId45" Type="http://schemas.openxmlformats.org/officeDocument/2006/relationships/slideLayout" Target="../slideLayouts/slideLayout460.xml"/><Relationship Id="rId53" Type="http://schemas.openxmlformats.org/officeDocument/2006/relationships/slideLayout" Target="../slideLayouts/slideLayout468.xml"/><Relationship Id="rId58" Type="http://schemas.openxmlformats.org/officeDocument/2006/relationships/slideLayout" Target="../slideLayouts/slideLayout473.xml"/><Relationship Id="rId66" Type="http://schemas.openxmlformats.org/officeDocument/2006/relationships/slideLayout" Target="../slideLayouts/slideLayout481.xml"/><Relationship Id="rId74" Type="http://schemas.openxmlformats.org/officeDocument/2006/relationships/slideLayout" Target="../slideLayouts/slideLayout489.xml"/><Relationship Id="rId5" Type="http://schemas.openxmlformats.org/officeDocument/2006/relationships/slideLayout" Target="../slideLayouts/slideLayout420.xml"/><Relationship Id="rId61" Type="http://schemas.openxmlformats.org/officeDocument/2006/relationships/slideLayout" Target="../slideLayouts/slideLayout476.xml"/><Relationship Id="rId19" Type="http://schemas.openxmlformats.org/officeDocument/2006/relationships/slideLayout" Target="../slideLayouts/slideLayout434.xml"/><Relationship Id="rId14" Type="http://schemas.openxmlformats.org/officeDocument/2006/relationships/slideLayout" Target="../slideLayouts/slideLayout429.xml"/><Relationship Id="rId22" Type="http://schemas.openxmlformats.org/officeDocument/2006/relationships/slideLayout" Target="../slideLayouts/slideLayout437.xml"/><Relationship Id="rId27" Type="http://schemas.openxmlformats.org/officeDocument/2006/relationships/slideLayout" Target="../slideLayouts/slideLayout442.xml"/><Relationship Id="rId30" Type="http://schemas.openxmlformats.org/officeDocument/2006/relationships/slideLayout" Target="../slideLayouts/slideLayout445.xml"/><Relationship Id="rId35" Type="http://schemas.openxmlformats.org/officeDocument/2006/relationships/slideLayout" Target="../slideLayouts/slideLayout450.xml"/><Relationship Id="rId43" Type="http://schemas.openxmlformats.org/officeDocument/2006/relationships/slideLayout" Target="../slideLayouts/slideLayout458.xml"/><Relationship Id="rId48" Type="http://schemas.openxmlformats.org/officeDocument/2006/relationships/slideLayout" Target="../slideLayouts/slideLayout463.xml"/><Relationship Id="rId56" Type="http://schemas.openxmlformats.org/officeDocument/2006/relationships/slideLayout" Target="../slideLayouts/slideLayout471.xml"/><Relationship Id="rId64" Type="http://schemas.openxmlformats.org/officeDocument/2006/relationships/slideLayout" Target="../slideLayouts/slideLayout479.xml"/><Relationship Id="rId69" Type="http://schemas.openxmlformats.org/officeDocument/2006/relationships/slideLayout" Target="../slideLayouts/slideLayout484.xml"/><Relationship Id="rId8" Type="http://schemas.openxmlformats.org/officeDocument/2006/relationships/slideLayout" Target="../slideLayouts/slideLayout423.xml"/><Relationship Id="rId51" Type="http://schemas.openxmlformats.org/officeDocument/2006/relationships/slideLayout" Target="../slideLayouts/slideLayout466.xml"/><Relationship Id="rId72" Type="http://schemas.openxmlformats.org/officeDocument/2006/relationships/slideLayout" Target="../slideLayouts/slideLayout487.xml"/><Relationship Id="rId3" Type="http://schemas.openxmlformats.org/officeDocument/2006/relationships/slideLayout" Target="../slideLayouts/slideLayout418.xml"/><Relationship Id="rId12" Type="http://schemas.openxmlformats.org/officeDocument/2006/relationships/slideLayout" Target="../slideLayouts/slideLayout427.xml"/><Relationship Id="rId17" Type="http://schemas.openxmlformats.org/officeDocument/2006/relationships/slideLayout" Target="../slideLayouts/slideLayout432.xml"/><Relationship Id="rId25" Type="http://schemas.openxmlformats.org/officeDocument/2006/relationships/slideLayout" Target="../slideLayouts/slideLayout440.xml"/><Relationship Id="rId33" Type="http://schemas.openxmlformats.org/officeDocument/2006/relationships/slideLayout" Target="../slideLayouts/slideLayout448.xml"/><Relationship Id="rId38" Type="http://schemas.openxmlformats.org/officeDocument/2006/relationships/slideLayout" Target="../slideLayouts/slideLayout453.xml"/><Relationship Id="rId46" Type="http://schemas.openxmlformats.org/officeDocument/2006/relationships/slideLayout" Target="../slideLayouts/slideLayout461.xml"/><Relationship Id="rId59" Type="http://schemas.openxmlformats.org/officeDocument/2006/relationships/slideLayout" Target="../slideLayouts/slideLayout474.xml"/><Relationship Id="rId67" Type="http://schemas.openxmlformats.org/officeDocument/2006/relationships/slideLayout" Target="../slideLayouts/slideLayout482.xml"/><Relationship Id="rId20" Type="http://schemas.openxmlformats.org/officeDocument/2006/relationships/slideLayout" Target="../slideLayouts/slideLayout435.xml"/><Relationship Id="rId41" Type="http://schemas.openxmlformats.org/officeDocument/2006/relationships/slideLayout" Target="../slideLayouts/slideLayout456.xml"/><Relationship Id="rId54" Type="http://schemas.openxmlformats.org/officeDocument/2006/relationships/slideLayout" Target="../slideLayouts/slideLayout469.xml"/><Relationship Id="rId62" Type="http://schemas.openxmlformats.org/officeDocument/2006/relationships/slideLayout" Target="../slideLayouts/slideLayout477.xml"/><Relationship Id="rId70" Type="http://schemas.openxmlformats.org/officeDocument/2006/relationships/slideLayout" Target="../slideLayouts/slideLayout485.xml"/><Relationship Id="rId75" Type="http://schemas.openxmlformats.org/officeDocument/2006/relationships/theme" Target="../theme/theme14.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5" Type="http://schemas.openxmlformats.org/officeDocument/2006/relationships/slideLayout" Target="../slideLayouts/slideLayout430.xml"/><Relationship Id="rId23" Type="http://schemas.openxmlformats.org/officeDocument/2006/relationships/slideLayout" Target="../slideLayouts/slideLayout438.xml"/><Relationship Id="rId28" Type="http://schemas.openxmlformats.org/officeDocument/2006/relationships/slideLayout" Target="../slideLayouts/slideLayout443.xml"/><Relationship Id="rId36" Type="http://schemas.openxmlformats.org/officeDocument/2006/relationships/slideLayout" Target="../slideLayouts/slideLayout451.xml"/><Relationship Id="rId49" Type="http://schemas.openxmlformats.org/officeDocument/2006/relationships/slideLayout" Target="../slideLayouts/slideLayout464.xml"/><Relationship Id="rId57" Type="http://schemas.openxmlformats.org/officeDocument/2006/relationships/slideLayout" Target="../slideLayouts/slideLayout472.xml"/><Relationship Id="rId10" Type="http://schemas.openxmlformats.org/officeDocument/2006/relationships/slideLayout" Target="../slideLayouts/slideLayout425.xml"/><Relationship Id="rId31" Type="http://schemas.openxmlformats.org/officeDocument/2006/relationships/slideLayout" Target="../slideLayouts/slideLayout446.xml"/><Relationship Id="rId44" Type="http://schemas.openxmlformats.org/officeDocument/2006/relationships/slideLayout" Target="../slideLayouts/slideLayout459.xml"/><Relationship Id="rId52" Type="http://schemas.openxmlformats.org/officeDocument/2006/relationships/slideLayout" Target="../slideLayouts/slideLayout467.xml"/><Relationship Id="rId60" Type="http://schemas.openxmlformats.org/officeDocument/2006/relationships/slideLayout" Target="../slideLayouts/slideLayout475.xml"/><Relationship Id="rId65" Type="http://schemas.openxmlformats.org/officeDocument/2006/relationships/slideLayout" Target="../slideLayouts/slideLayout480.xml"/><Relationship Id="rId73" Type="http://schemas.openxmlformats.org/officeDocument/2006/relationships/slideLayout" Target="../slideLayouts/slideLayout488.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3" Type="http://schemas.openxmlformats.org/officeDocument/2006/relationships/slideLayout" Target="../slideLayouts/slideLayout428.xml"/><Relationship Id="rId18" Type="http://schemas.openxmlformats.org/officeDocument/2006/relationships/slideLayout" Target="../slideLayouts/slideLayout433.xml"/><Relationship Id="rId39" Type="http://schemas.openxmlformats.org/officeDocument/2006/relationships/slideLayout" Target="../slideLayouts/slideLayout454.xml"/><Relationship Id="rId34" Type="http://schemas.openxmlformats.org/officeDocument/2006/relationships/slideLayout" Target="../slideLayouts/slideLayout449.xml"/><Relationship Id="rId50" Type="http://schemas.openxmlformats.org/officeDocument/2006/relationships/slideLayout" Target="../slideLayouts/slideLayout465.xml"/><Relationship Id="rId55" Type="http://schemas.openxmlformats.org/officeDocument/2006/relationships/slideLayout" Target="../slideLayouts/slideLayout470.xml"/><Relationship Id="rId76" Type="http://schemas.openxmlformats.org/officeDocument/2006/relationships/image" Target="../media/image6.emf"/><Relationship Id="rId7" Type="http://schemas.openxmlformats.org/officeDocument/2006/relationships/slideLayout" Target="../slideLayouts/slideLayout422.xml"/><Relationship Id="rId71" Type="http://schemas.openxmlformats.org/officeDocument/2006/relationships/slideLayout" Target="../slideLayouts/slideLayout48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image" Target="../media/image6.emf"/><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3.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6.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4.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image" Target="../media/image6.emf"/><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theme" Target="../theme/theme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9" Type="http://schemas.openxmlformats.org/officeDocument/2006/relationships/slideLayout" Target="../slideLayouts/slideLayout163.xml"/><Relationship Id="rId21" Type="http://schemas.openxmlformats.org/officeDocument/2006/relationships/slideLayout" Target="../slideLayouts/slideLayout145.xml"/><Relationship Id="rId34" Type="http://schemas.openxmlformats.org/officeDocument/2006/relationships/slideLayout" Target="../slideLayouts/slideLayout158.xml"/><Relationship Id="rId42" Type="http://schemas.openxmlformats.org/officeDocument/2006/relationships/image" Target="../media/image6.emf"/><Relationship Id="rId7" Type="http://schemas.openxmlformats.org/officeDocument/2006/relationships/slideLayout" Target="../slideLayouts/slideLayout13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41" Type="http://schemas.openxmlformats.org/officeDocument/2006/relationships/theme" Target="../theme/theme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32" Type="http://schemas.openxmlformats.org/officeDocument/2006/relationships/slideLayout" Target="../slideLayouts/slideLayout156.xml"/><Relationship Id="rId37" Type="http://schemas.openxmlformats.org/officeDocument/2006/relationships/slideLayout" Target="../slideLayouts/slideLayout161.xml"/><Relationship Id="rId40" Type="http://schemas.openxmlformats.org/officeDocument/2006/relationships/slideLayout" Target="../slideLayouts/slideLayout164.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36" Type="http://schemas.openxmlformats.org/officeDocument/2006/relationships/slideLayout" Target="../slideLayouts/slideLayout160.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31" Type="http://schemas.openxmlformats.org/officeDocument/2006/relationships/slideLayout" Target="../slideLayouts/slideLayout155.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slideLayout" Target="../slideLayouts/slideLayout154.xml"/><Relationship Id="rId35" Type="http://schemas.openxmlformats.org/officeDocument/2006/relationships/slideLayout" Target="../slideLayouts/slideLayout159.xml"/><Relationship Id="rId8" Type="http://schemas.openxmlformats.org/officeDocument/2006/relationships/slideLayout" Target="../slideLayouts/slideLayout132.xml"/><Relationship Id="rId3" Type="http://schemas.openxmlformats.org/officeDocument/2006/relationships/slideLayout" Target="../slideLayouts/slideLayout127.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33" Type="http://schemas.openxmlformats.org/officeDocument/2006/relationships/slideLayout" Target="../slideLayouts/slideLayout157.xml"/><Relationship Id="rId38" Type="http://schemas.openxmlformats.org/officeDocument/2006/relationships/slideLayout" Target="../slideLayouts/slideLayout16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9" Type="http://schemas.openxmlformats.org/officeDocument/2006/relationships/slideLayout" Target="../slideLayouts/slideLayout203.xml"/><Relationship Id="rId21" Type="http://schemas.openxmlformats.org/officeDocument/2006/relationships/slideLayout" Target="../slideLayouts/slideLayout185.xml"/><Relationship Id="rId34" Type="http://schemas.openxmlformats.org/officeDocument/2006/relationships/slideLayout" Target="../slideLayouts/slideLayout198.xml"/><Relationship Id="rId42" Type="http://schemas.openxmlformats.org/officeDocument/2006/relationships/slideLayout" Target="../slideLayouts/slideLayout206.xml"/><Relationship Id="rId7" Type="http://schemas.openxmlformats.org/officeDocument/2006/relationships/slideLayout" Target="../slideLayouts/slideLayout171.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29" Type="http://schemas.openxmlformats.org/officeDocument/2006/relationships/slideLayout" Target="../slideLayouts/slideLayout193.xml"/><Relationship Id="rId41" Type="http://schemas.openxmlformats.org/officeDocument/2006/relationships/slideLayout" Target="../slideLayouts/slideLayout205.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32" Type="http://schemas.openxmlformats.org/officeDocument/2006/relationships/slideLayout" Target="../slideLayouts/slideLayout196.xml"/><Relationship Id="rId37" Type="http://schemas.openxmlformats.org/officeDocument/2006/relationships/slideLayout" Target="../slideLayouts/slideLayout201.xml"/><Relationship Id="rId40" Type="http://schemas.openxmlformats.org/officeDocument/2006/relationships/slideLayout" Target="../slideLayouts/slideLayout204.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36" Type="http://schemas.openxmlformats.org/officeDocument/2006/relationships/slideLayout" Target="../slideLayouts/slideLayout200.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31" Type="http://schemas.openxmlformats.org/officeDocument/2006/relationships/slideLayout" Target="../slideLayouts/slideLayout195.xml"/><Relationship Id="rId44" Type="http://schemas.openxmlformats.org/officeDocument/2006/relationships/image" Target="../media/image6.emf"/><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slideLayout" Target="../slideLayouts/slideLayout194.xml"/><Relationship Id="rId35" Type="http://schemas.openxmlformats.org/officeDocument/2006/relationships/slideLayout" Target="../slideLayouts/slideLayout199.xml"/><Relationship Id="rId43" Type="http://schemas.openxmlformats.org/officeDocument/2006/relationships/theme" Target="../theme/theme7.xml"/><Relationship Id="rId8" Type="http://schemas.openxmlformats.org/officeDocument/2006/relationships/slideLayout" Target="../slideLayouts/slideLayout172.xml"/><Relationship Id="rId3" Type="http://schemas.openxmlformats.org/officeDocument/2006/relationships/slideLayout" Target="../slideLayouts/slideLayout167.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33" Type="http://schemas.openxmlformats.org/officeDocument/2006/relationships/slideLayout" Target="../slideLayouts/slideLayout197.xml"/><Relationship Id="rId38" Type="http://schemas.openxmlformats.org/officeDocument/2006/relationships/slideLayout" Target="../slideLayouts/slideLayout202.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32.xml"/><Relationship Id="rId21" Type="http://schemas.openxmlformats.org/officeDocument/2006/relationships/slideLayout" Target="../slideLayouts/slideLayout227.xml"/><Relationship Id="rId42" Type="http://schemas.openxmlformats.org/officeDocument/2006/relationships/slideLayout" Target="../slideLayouts/slideLayout248.xml"/><Relationship Id="rId47" Type="http://schemas.openxmlformats.org/officeDocument/2006/relationships/slideLayout" Target="../slideLayouts/slideLayout253.xml"/><Relationship Id="rId63" Type="http://schemas.openxmlformats.org/officeDocument/2006/relationships/slideLayout" Target="../slideLayouts/slideLayout269.xml"/><Relationship Id="rId68" Type="http://schemas.openxmlformats.org/officeDocument/2006/relationships/slideLayout" Target="../slideLayouts/slideLayout274.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9" Type="http://schemas.openxmlformats.org/officeDocument/2006/relationships/slideLayout" Target="../slideLayouts/slideLayout235.xml"/><Relationship Id="rId11" Type="http://schemas.openxmlformats.org/officeDocument/2006/relationships/slideLayout" Target="../slideLayouts/slideLayout217.xml"/><Relationship Id="rId24" Type="http://schemas.openxmlformats.org/officeDocument/2006/relationships/slideLayout" Target="../slideLayouts/slideLayout230.xml"/><Relationship Id="rId32" Type="http://schemas.openxmlformats.org/officeDocument/2006/relationships/slideLayout" Target="../slideLayouts/slideLayout238.xml"/><Relationship Id="rId37" Type="http://schemas.openxmlformats.org/officeDocument/2006/relationships/slideLayout" Target="../slideLayouts/slideLayout243.xml"/><Relationship Id="rId40" Type="http://schemas.openxmlformats.org/officeDocument/2006/relationships/slideLayout" Target="../slideLayouts/slideLayout246.xml"/><Relationship Id="rId45" Type="http://schemas.openxmlformats.org/officeDocument/2006/relationships/slideLayout" Target="../slideLayouts/slideLayout251.xml"/><Relationship Id="rId53" Type="http://schemas.openxmlformats.org/officeDocument/2006/relationships/slideLayout" Target="../slideLayouts/slideLayout259.xml"/><Relationship Id="rId58" Type="http://schemas.openxmlformats.org/officeDocument/2006/relationships/slideLayout" Target="../slideLayouts/slideLayout264.xml"/><Relationship Id="rId66" Type="http://schemas.openxmlformats.org/officeDocument/2006/relationships/slideLayout" Target="../slideLayouts/slideLayout272.xml"/><Relationship Id="rId74" Type="http://schemas.openxmlformats.org/officeDocument/2006/relationships/theme" Target="../theme/theme8.xml"/><Relationship Id="rId5" Type="http://schemas.openxmlformats.org/officeDocument/2006/relationships/slideLayout" Target="../slideLayouts/slideLayout211.xml"/><Relationship Id="rId61" Type="http://schemas.openxmlformats.org/officeDocument/2006/relationships/slideLayout" Target="../slideLayouts/slideLayout267.xml"/><Relationship Id="rId19" Type="http://schemas.openxmlformats.org/officeDocument/2006/relationships/slideLayout" Target="../slideLayouts/slideLayout225.xml"/><Relationship Id="rId14" Type="http://schemas.openxmlformats.org/officeDocument/2006/relationships/slideLayout" Target="../slideLayouts/slideLayout220.xml"/><Relationship Id="rId22" Type="http://schemas.openxmlformats.org/officeDocument/2006/relationships/slideLayout" Target="../slideLayouts/slideLayout228.xml"/><Relationship Id="rId27" Type="http://schemas.openxmlformats.org/officeDocument/2006/relationships/slideLayout" Target="../slideLayouts/slideLayout233.xml"/><Relationship Id="rId30" Type="http://schemas.openxmlformats.org/officeDocument/2006/relationships/slideLayout" Target="../slideLayouts/slideLayout236.xml"/><Relationship Id="rId35" Type="http://schemas.openxmlformats.org/officeDocument/2006/relationships/slideLayout" Target="../slideLayouts/slideLayout241.xml"/><Relationship Id="rId43" Type="http://schemas.openxmlformats.org/officeDocument/2006/relationships/slideLayout" Target="../slideLayouts/slideLayout249.xml"/><Relationship Id="rId48" Type="http://schemas.openxmlformats.org/officeDocument/2006/relationships/slideLayout" Target="../slideLayouts/slideLayout254.xml"/><Relationship Id="rId56" Type="http://schemas.openxmlformats.org/officeDocument/2006/relationships/slideLayout" Target="../slideLayouts/slideLayout262.xml"/><Relationship Id="rId64" Type="http://schemas.openxmlformats.org/officeDocument/2006/relationships/slideLayout" Target="../slideLayouts/slideLayout270.xml"/><Relationship Id="rId69" Type="http://schemas.openxmlformats.org/officeDocument/2006/relationships/slideLayout" Target="../slideLayouts/slideLayout275.xml"/><Relationship Id="rId8" Type="http://schemas.openxmlformats.org/officeDocument/2006/relationships/slideLayout" Target="../slideLayouts/slideLayout214.xml"/><Relationship Id="rId51" Type="http://schemas.openxmlformats.org/officeDocument/2006/relationships/slideLayout" Target="../slideLayouts/slideLayout257.xml"/><Relationship Id="rId72" Type="http://schemas.openxmlformats.org/officeDocument/2006/relationships/slideLayout" Target="../slideLayouts/slideLayout278.xml"/><Relationship Id="rId3" Type="http://schemas.openxmlformats.org/officeDocument/2006/relationships/slideLayout" Target="../slideLayouts/slideLayout209.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5" Type="http://schemas.openxmlformats.org/officeDocument/2006/relationships/slideLayout" Target="../slideLayouts/slideLayout231.xml"/><Relationship Id="rId33" Type="http://schemas.openxmlformats.org/officeDocument/2006/relationships/slideLayout" Target="../slideLayouts/slideLayout239.xml"/><Relationship Id="rId38" Type="http://schemas.openxmlformats.org/officeDocument/2006/relationships/slideLayout" Target="../slideLayouts/slideLayout244.xml"/><Relationship Id="rId46" Type="http://schemas.openxmlformats.org/officeDocument/2006/relationships/slideLayout" Target="../slideLayouts/slideLayout252.xml"/><Relationship Id="rId59" Type="http://schemas.openxmlformats.org/officeDocument/2006/relationships/slideLayout" Target="../slideLayouts/slideLayout265.xml"/><Relationship Id="rId67" Type="http://schemas.openxmlformats.org/officeDocument/2006/relationships/slideLayout" Target="../slideLayouts/slideLayout273.xml"/><Relationship Id="rId20" Type="http://schemas.openxmlformats.org/officeDocument/2006/relationships/slideLayout" Target="../slideLayouts/slideLayout226.xml"/><Relationship Id="rId41" Type="http://schemas.openxmlformats.org/officeDocument/2006/relationships/slideLayout" Target="../slideLayouts/slideLayout247.xml"/><Relationship Id="rId54" Type="http://schemas.openxmlformats.org/officeDocument/2006/relationships/slideLayout" Target="../slideLayouts/slideLayout260.xml"/><Relationship Id="rId62" Type="http://schemas.openxmlformats.org/officeDocument/2006/relationships/slideLayout" Target="../slideLayouts/slideLayout268.xml"/><Relationship Id="rId70" Type="http://schemas.openxmlformats.org/officeDocument/2006/relationships/slideLayout" Target="../slideLayouts/slideLayout276.xml"/><Relationship Id="rId75" Type="http://schemas.openxmlformats.org/officeDocument/2006/relationships/image" Target="../media/image6.emf"/><Relationship Id="rId1" Type="http://schemas.openxmlformats.org/officeDocument/2006/relationships/slideLayout" Target="../slideLayouts/slideLayout207.xml"/><Relationship Id="rId6" Type="http://schemas.openxmlformats.org/officeDocument/2006/relationships/slideLayout" Target="../slideLayouts/slideLayout212.xml"/><Relationship Id="rId15" Type="http://schemas.openxmlformats.org/officeDocument/2006/relationships/slideLayout" Target="../slideLayouts/slideLayout221.xml"/><Relationship Id="rId23" Type="http://schemas.openxmlformats.org/officeDocument/2006/relationships/slideLayout" Target="../slideLayouts/slideLayout229.xml"/><Relationship Id="rId28" Type="http://schemas.openxmlformats.org/officeDocument/2006/relationships/slideLayout" Target="../slideLayouts/slideLayout234.xml"/><Relationship Id="rId36" Type="http://schemas.openxmlformats.org/officeDocument/2006/relationships/slideLayout" Target="../slideLayouts/slideLayout242.xml"/><Relationship Id="rId49" Type="http://schemas.openxmlformats.org/officeDocument/2006/relationships/slideLayout" Target="../slideLayouts/slideLayout255.xml"/><Relationship Id="rId57" Type="http://schemas.openxmlformats.org/officeDocument/2006/relationships/slideLayout" Target="../slideLayouts/slideLayout263.xml"/><Relationship Id="rId10" Type="http://schemas.openxmlformats.org/officeDocument/2006/relationships/slideLayout" Target="../slideLayouts/slideLayout216.xml"/><Relationship Id="rId31" Type="http://schemas.openxmlformats.org/officeDocument/2006/relationships/slideLayout" Target="../slideLayouts/slideLayout237.xml"/><Relationship Id="rId44" Type="http://schemas.openxmlformats.org/officeDocument/2006/relationships/slideLayout" Target="../slideLayouts/slideLayout250.xml"/><Relationship Id="rId52" Type="http://schemas.openxmlformats.org/officeDocument/2006/relationships/slideLayout" Target="../slideLayouts/slideLayout258.xml"/><Relationship Id="rId60" Type="http://schemas.openxmlformats.org/officeDocument/2006/relationships/slideLayout" Target="../slideLayouts/slideLayout266.xml"/><Relationship Id="rId65" Type="http://schemas.openxmlformats.org/officeDocument/2006/relationships/slideLayout" Target="../slideLayouts/slideLayout271.xml"/><Relationship Id="rId73" Type="http://schemas.openxmlformats.org/officeDocument/2006/relationships/slideLayout" Target="../slideLayouts/slideLayout279.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39" Type="http://schemas.openxmlformats.org/officeDocument/2006/relationships/slideLayout" Target="../slideLayouts/slideLayout245.xml"/><Relationship Id="rId34" Type="http://schemas.openxmlformats.org/officeDocument/2006/relationships/slideLayout" Target="../slideLayouts/slideLayout240.xml"/><Relationship Id="rId50" Type="http://schemas.openxmlformats.org/officeDocument/2006/relationships/slideLayout" Target="../slideLayouts/slideLayout256.xml"/><Relationship Id="rId55" Type="http://schemas.openxmlformats.org/officeDocument/2006/relationships/slideLayout" Target="../slideLayouts/slideLayout261.xml"/><Relationship Id="rId7" Type="http://schemas.openxmlformats.org/officeDocument/2006/relationships/slideLayout" Target="../slideLayouts/slideLayout213.xml"/><Relationship Id="rId71" Type="http://schemas.openxmlformats.org/officeDocument/2006/relationships/slideLayout" Target="../slideLayouts/slideLayout27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3" Type="http://schemas.openxmlformats.org/officeDocument/2006/relationships/slideLayout" Target="../slideLayouts/slideLayout282.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theme" Target="../theme/theme9.xml"/><Relationship Id="rId2" Type="http://schemas.openxmlformats.org/officeDocument/2006/relationships/slideLayout" Target="../slideLayouts/slideLayout281.xml"/><Relationship Id="rId16" Type="http://schemas.openxmlformats.org/officeDocument/2006/relationships/slideLayout" Target="../slideLayouts/slideLayout295.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slideLayout" Target="../slideLayouts/slideLayout294.xml"/><Relationship Id="rId10" Type="http://schemas.openxmlformats.org/officeDocument/2006/relationships/slideLayout" Target="../slideLayouts/slideLayout289.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406406"/>
      </p:ext>
    </p:extLst>
  </p:cSld>
  <p:clrMap bg1="lt1" tx1="dk1" bg2="lt2" tx2="dk2" accent1="accent1" accent2="accent2" accent3="accent3" accent4="accent4" accent5="accent5" accent6="accent6" hlink="hlink" folHlink="folHlink"/>
  <p:sldLayoutIdLst>
    <p:sldLayoutId id="2147484025" r:id="rId1"/>
    <p:sldLayoutId id="2147484113" r:id="rId2"/>
    <p:sldLayoutId id="2147484026" r:id="rId3"/>
    <p:sldLayoutId id="2147484028" r:id="rId4"/>
    <p:sldLayoutId id="2147484029"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 id="2147485073" r:id="rId14"/>
    <p:sldLayoutId id="2147485074" r:id="rId15"/>
    <p:sldLayoutId id="2147485075" r:id="rId16"/>
    <p:sldLayoutId id="2147485076" r:id="rId17"/>
    <p:sldLayoutId id="2147485077" r:id="rId18"/>
    <p:sldLayoutId id="2147492713" r:id="rId19"/>
    <p:sldLayoutId id="2147492715" r:id="rId20"/>
    <p:sldLayoutId id="2147492716" r:id="rId21"/>
    <p:sldLayoutId id="2147485064" r:id="rId22"/>
    <p:sldLayoutId id="2147492891" r:id="rId23"/>
    <p:sldLayoutId id="2147492892" r:id="rId24"/>
    <p:sldLayoutId id="2147492894" r:id="rId25"/>
    <p:sldLayoutId id="2147492904" r:id="rId2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E29D5B-29A1-4697-98ED-C939C1E41BD4}"/>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5" name="Object 4" hidden="1">
                        <a:extLst>
                          <a:ext uri="{FF2B5EF4-FFF2-40B4-BE49-F238E27FC236}">
                            <a16:creationId xmlns:a16="http://schemas.microsoft.com/office/drawing/2014/main" id="{D4E29D5B-29A1-4697-98ED-C939C1E41BD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3443259"/>
      </p:ext>
    </p:extLst>
  </p:cSld>
  <p:clrMap bg1="lt1" tx1="dk1" bg2="lt2" tx2="dk2" accent1="accent1" accent2="accent2" accent3="accent3" accent4="accent4" accent5="accent5" accent6="accent6" hlink="hlink" folHlink="folHlink"/>
  <p:sldLayoutIdLst>
    <p:sldLayoutId id="2147493412" r:id="rId1"/>
    <p:sldLayoutId id="2147493413" r:id="rId2"/>
    <p:sldLayoutId id="2147493414" r:id="rId3"/>
    <p:sldLayoutId id="2147493415" r:id="rId4"/>
    <p:sldLayoutId id="2147493416" r:id="rId5"/>
    <p:sldLayoutId id="2147493417" r:id="rId6"/>
    <p:sldLayoutId id="2147493418" r:id="rId7"/>
    <p:sldLayoutId id="2147493419" r:id="rId8"/>
    <p:sldLayoutId id="2147493420" r:id="rId9"/>
    <p:sldLayoutId id="2147493421" r:id="rId10"/>
    <p:sldLayoutId id="2147493422" r:id="rId11"/>
    <p:sldLayoutId id="2147493423" r:id="rId12"/>
    <p:sldLayoutId id="2147493424" r:id="rId13"/>
    <p:sldLayoutId id="2147493425" r:id="rId14"/>
    <p:sldLayoutId id="2147493426" r:id="rId15"/>
    <p:sldLayoutId id="2147493427" r:id="rId16"/>
    <p:sldLayoutId id="2147493428" r:id="rId17"/>
    <p:sldLayoutId id="2147493429" r:id="rId18"/>
    <p:sldLayoutId id="2147493430" r:id="rId19"/>
    <p:sldLayoutId id="2147493431" r:id="rId20"/>
    <p:sldLayoutId id="2147493432" r:id="rId21"/>
    <p:sldLayoutId id="2147493434" r:id="rId22"/>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3251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157108"/>
      </p:ext>
    </p:extLst>
  </p:cSld>
  <p:clrMap bg1="lt1" tx1="dk1" bg2="lt2" tx2="dk2" accent1="accent1" accent2="accent2" accent3="accent3" accent4="accent4" accent5="accent5" accent6="accent6" hlink="hlink" folHlink="folHlink"/>
  <p:sldLayoutIdLst>
    <p:sldLayoutId id="2147493442" r:id="rId1"/>
    <p:sldLayoutId id="2147493443" r:id="rId2"/>
    <p:sldLayoutId id="2147493444" r:id="rId3"/>
    <p:sldLayoutId id="2147493445" r:id="rId4"/>
    <p:sldLayoutId id="2147493446" r:id="rId5"/>
    <p:sldLayoutId id="2147493447" r:id="rId6"/>
    <p:sldLayoutId id="2147493448" r:id="rId7"/>
    <p:sldLayoutId id="2147493449" r:id="rId8"/>
    <p:sldLayoutId id="2147493450" r:id="rId9"/>
    <p:sldLayoutId id="2147493451" r:id="rId10"/>
    <p:sldLayoutId id="2147493452" r:id="rId11"/>
    <p:sldLayoutId id="2147493453" r:id="rId12"/>
    <p:sldLayoutId id="2147493454" r:id="rId13"/>
    <p:sldLayoutId id="2147493455" r:id="rId14"/>
    <p:sldLayoutId id="2147493456" r:id="rId15"/>
    <p:sldLayoutId id="2147493457" r:id="rId16"/>
    <p:sldLayoutId id="2147493458" r:id="rId17"/>
    <p:sldLayoutId id="2147493459" r:id="rId18"/>
    <p:sldLayoutId id="2147493460" r:id="rId19"/>
    <p:sldLayoutId id="2147493461" r:id="rId20"/>
    <p:sldLayoutId id="2147493462" r:id="rId21"/>
    <p:sldLayoutId id="2147493463" r:id="rId22"/>
    <p:sldLayoutId id="2147493464" r:id="rId23"/>
    <p:sldLayoutId id="2147493465" r:id="rId24"/>
    <p:sldLayoutId id="2147493467" r:id="rId25"/>
  </p:sldLayoutIdLst>
  <p:transition>
    <p:fade/>
  </p:transition>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9"/>
            <a:ext cx="11018520" cy="390854"/>
          </a:xfrm>
          <a:prstGeom prst="rect">
            <a:avLst/>
          </a:prstGeom>
        </p:spPr>
        <p:txBody>
          <a:bodyPr vert="horz" wrap="square" lIns="0" tIns="0" rIns="0" bIns="0" rtlCol="0" anchor="ctr" anchorCtr="0">
            <a:noAutofit/>
          </a:bodyPr>
          <a:lstStyle/>
          <a:p>
            <a:pPr marL="0" marR="0" lvl="0" indent="0" algn="l" defTabSz="746965" rtl="0" eaLnBrk="1" fontAlgn="auto" latinLnBrk="0" hangingPunct="1">
              <a:lnSpc>
                <a:spcPct val="80000"/>
              </a:lnSpc>
              <a:spcBef>
                <a:spcPts val="0"/>
              </a:spcBef>
              <a:spcAft>
                <a:spcPts val="0"/>
              </a:spcAft>
              <a:buClrTx/>
              <a:buSzTx/>
              <a:buFontTx/>
              <a:buNone/>
              <a:tabLst/>
              <a:defRPr/>
            </a:pPr>
            <a:r>
              <a:rPr lang="en-US"/>
              <a:t>Click to edit Master title style</a:t>
            </a:r>
          </a:p>
        </p:txBody>
      </p:sp>
      <p:sp>
        <p:nvSpPr>
          <p:cNvPr id="4" name="Text Placeholder 3"/>
          <p:cNvSpPr>
            <a:spLocks noGrp="1"/>
          </p:cNvSpPr>
          <p:nvPr userDrawn="1">
            <p:ph type="body" idx="1"/>
          </p:nvPr>
        </p:nvSpPr>
        <p:spPr>
          <a:xfrm>
            <a:off x="584200" y="1435504"/>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57775008"/>
      </p:ext>
    </p:extLst>
  </p:cSld>
  <p:clrMap bg1="lt1" tx1="dk1" bg2="lt2" tx2="dk2" accent1="accent1" accent2="accent2" accent3="accent3" accent4="accent4" accent5="accent5" accent6="accent6" hlink="hlink" folHlink="folHlink"/>
  <p:sldLayoutIdLst>
    <p:sldLayoutId id="2147493470" r:id="rId1"/>
    <p:sldLayoutId id="2147493471" r:id="rId2"/>
    <p:sldLayoutId id="2147493472" r:id="rId3"/>
    <p:sldLayoutId id="2147493473" r:id="rId4"/>
    <p:sldLayoutId id="2147493474" r:id="rId5"/>
    <p:sldLayoutId id="2147493475" r:id="rId6"/>
    <p:sldLayoutId id="2147493476" r:id="rId7"/>
    <p:sldLayoutId id="2147493477" r:id="rId8"/>
    <p:sldLayoutId id="2147493478" r:id="rId9"/>
    <p:sldLayoutId id="2147493479" r:id="rId10"/>
    <p:sldLayoutId id="2147493480" r:id="rId11"/>
    <p:sldLayoutId id="2147493481" r:id="rId12"/>
    <p:sldLayoutId id="2147493482" r:id="rId13"/>
    <p:sldLayoutId id="2147493483" r:id="rId14"/>
    <p:sldLayoutId id="2147493484" r:id="rId15"/>
    <p:sldLayoutId id="2147493485" r:id="rId16"/>
    <p:sldLayoutId id="2147493486" r:id="rId17"/>
    <p:sldLayoutId id="2147493487" r:id="rId18"/>
    <p:sldLayoutId id="2147493488" r:id="rId19"/>
    <p:sldLayoutId id="2147493489" r:id="rId20"/>
    <p:sldLayoutId id="2147493490" r:id="rId21"/>
    <p:sldLayoutId id="2147493491" r:id="rId22"/>
    <p:sldLayoutId id="2147493492" r:id="rId23"/>
    <p:sldLayoutId id="2147493493" r:id="rId24"/>
    <p:sldLayoutId id="2147493494" r:id="rId25"/>
    <p:sldLayoutId id="2147493495" r:id="rId26"/>
    <p:sldLayoutId id="2147493496" r:id="rId27"/>
    <p:sldLayoutId id="2147493497" r:id="rId28"/>
    <p:sldLayoutId id="2147493498" r:id="rId29"/>
    <p:sldLayoutId id="2147493499" r:id="rId30"/>
    <p:sldLayoutId id="2147493500" r:id="rId31"/>
    <p:sldLayoutId id="2147493501" r:id="rId32"/>
    <p:sldLayoutId id="2147493502" r:id="rId33"/>
    <p:sldLayoutId id="2147493503" r:id="rId34"/>
    <p:sldLayoutId id="2147493504" r:id="rId35"/>
    <p:sldLayoutId id="2147493505" r:id="rId36"/>
    <p:sldLayoutId id="2147493506" r:id="rId37"/>
    <p:sldLayoutId id="2147493508" r:id="rId38"/>
  </p:sldLayoutIdLst>
  <p:transition>
    <p:fade/>
  </p:transition>
  <p:hf sldNum="0" hdr="0" ftr="0" dt="0"/>
  <p:txStyles>
    <p:titleStyle>
      <a:lvl1pPr algn="l" defTabSz="932563" rtl="0" eaLnBrk="1" latinLnBrk="0" hangingPunct="1">
        <a:lnSpc>
          <a:spcPct val="100000"/>
        </a:lnSpc>
        <a:spcBef>
          <a:spcPct val="0"/>
        </a:spcBef>
        <a:buNone/>
        <a:defRPr kumimoji="0" lang="en-US" sz="3137" b="1" i="0" u="none" strike="noStrike" kern="1200" cap="none" spc="0" normalizeH="0" baseline="0" dirty="0">
          <a:ln>
            <a:noFill/>
          </a:ln>
          <a:gradFill>
            <a:gsLst>
              <a:gs pos="83000">
                <a:schemeClr val="tx1"/>
              </a:gs>
              <a:gs pos="100000">
                <a:schemeClr val="tx1"/>
              </a:gs>
            </a:gsLst>
            <a:lin ang="5400000" scaled="1"/>
          </a:gradFill>
          <a:effectLst/>
          <a:uLnTx/>
          <a:uFillTx/>
          <a:latin typeface="Segoe Pro Display" panose="020B0502040504020203" pitchFamily="34" charset="0"/>
          <a:ea typeface="Roboto Condensed" panose="02000000000000000000" pitchFamily="2" charset="0"/>
          <a:cs typeface="Roboto Condensed" panose="02000000000000000000" pitchFamily="2"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Segoe Pro" panose="020B05020405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Segoe Pro" panose="020B0502040504020203" pitchFamily="34" charset="0"/>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Segoe Pro" panose="020B0502040504020203" pitchFamily="34" charset="0"/>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83000">
                <a:schemeClr val="tx1"/>
              </a:gs>
              <a:gs pos="100000">
                <a:schemeClr val="tx1"/>
              </a:gs>
            </a:gsLst>
            <a:lin ang="5400000" scaled="1"/>
          </a:gradFill>
          <a:latin typeface="Segoe Pro" panose="020B0502040504020203" pitchFamily="34" charset="0"/>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83000">
                <a:schemeClr val="tx1"/>
              </a:gs>
              <a:gs pos="100000">
                <a:schemeClr val="tx1"/>
              </a:gs>
            </a:gsLst>
            <a:lin ang="5400000" scaled="1"/>
          </a:gradFill>
          <a:latin typeface="Segoe Pro" panose="020B0502040504020203" pitchFamily="34" charset="0"/>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55377586"/>
      </p:ext>
    </p:extLst>
  </p:cSld>
  <p:clrMap bg1="lt1" tx1="dk1" bg2="lt2" tx2="dk2" accent1="accent1" accent2="accent2" accent3="accent3" accent4="accent4" accent5="accent5" accent6="accent6" hlink="hlink" folHlink="folHlink"/>
  <p:sldLayoutIdLst>
    <p:sldLayoutId id="2147493512" r:id="rId1"/>
    <p:sldLayoutId id="2147493513" r:id="rId2"/>
    <p:sldLayoutId id="2147493514" r:id="rId3"/>
    <p:sldLayoutId id="2147493515" r:id="rId4"/>
    <p:sldLayoutId id="2147493516" r:id="rId5"/>
    <p:sldLayoutId id="2147493517" r:id="rId6"/>
    <p:sldLayoutId id="2147493518" r:id="rId7"/>
    <p:sldLayoutId id="2147493519" r:id="rId8"/>
    <p:sldLayoutId id="2147493520" r:id="rId9"/>
    <p:sldLayoutId id="2147493521" r:id="rId10"/>
    <p:sldLayoutId id="2147493522" r:id="rId11"/>
    <p:sldLayoutId id="2147493523" r:id="rId12"/>
    <p:sldLayoutId id="2147493524" r:id="rId13"/>
    <p:sldLayoutId id="2147493525" r:id="rId14"/>
    <p:sldLayoutId id="2147493526" r:id="rId15"/>
    <p:sldLayoutId id="2147493527" r:id="rId16"/>
    <p:sldLayoutId id="2147493528" r:id="rId17"/>
    <p:sldLayoutId id="2147493529" r:id="rId18"/>
    <p:sldLayoutId id="2147493530" r:id="rId19"/>
    <p:sldLayoutId id="2147493531" r:id="rId20"/>
    <p:sldLayoutId id="2147493532" r:id="rId21"/>
    <p:sldLayoutId id="2147493533" r:id="rId22"/>
    <p:sldLayoutId id="2147493534" r:id="rId23"/>
    <p:sldLayoutId id="2147493535" r:id="rId24"/>
    <p:sldLayoutId id="2147493536" r:id="rId25"/>
    <p:sldLayoutId id="2147493537" r:id="rId26"/>
    <p:sldLayoutId id="2147493538" r:id="rId27"/>
    <p:sldLayoutId id="2147493539" r:id="rId28"/>
    <p:sldLayoutId id="2147493540" r:id="rId29"/>
    <p:sldLayoutId id="2147493541" r:id="rId30"/>
    <p:sldLayoutId id="2147493542" r:id="rId31"/>
    <p:sldLayoutId id="2147493543" r:id="rId32"/>
    <p:sldLayoutId id="2147493544" r:id="rId33"/>
    <p:sldLayoutId id="2147493545" r:id="rId34"/>
    <p:sldLayoutId id="2147493546"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473235126"/>
      </p:ext>
    </p:extLst>
  </p:cSld>
  <p:clrMap bg1="lt1" tx1="dk1" bg2="lt2" tx2="dk2" accent1="accent1" accent2="accent2" accent3="accent3" accent4="accent4" accent5="accent5" accent6="accent6" hlink="hlink" folHlink="folHlink"/>
  <p:sldLayoutIdLst>
    <p:sldLayoutId id="2147493548" r:id="rId1"/>
    <p:sldLayoutId id="2147493549" r:id="rId2"/>
    <p:sldLayoutId id="2147493550" r:id="rId3"/>
    <p:sldLayoutId id="2147493551" r:id="rId4"/>
    <p:sldLayoutId id="2147493552" r:id="rId5"/>
    <p:sldLayoutId id="2147493553" r:id="rId6"/>
    <p:sldLayoutId id="2147493554" r:id="rId7"/>
    <p:sldLayoutId id="2147493555" r:id="rId8"/>
    <p:sldLayoutId id="2147493556" r:id="rId9"/>
    <p:sldLayoutId id="2147493557" r:id="rId10"/>
    <p:sldLayoutId id="2147493558" r:id="rId11"/>
    <p:sldLayoutId id="2147493559" r:id="rId12"/>
    <p:sldLayoutId id="2147493560" r:id="rId13"/>
    <p:sldLayoutId id="2147493561" r:id="rId14"/>
    <p:sldLayoutId id="2147493562" r:id="rId15"/>
    <p:sldLayoutId id="2147493563" r:id="rId16"/>
    <p:sldLayoutId id="2147493564" r:id="rId17"/>
    <p:sldLayoutId id="2147493565" r:id="rId18"/>
    <p:sldLayoutId id="2147493566" r:id="rId19"/>
    <p:sldLayoutId id="2147493567" r:id="rId20"/>
    <p:sldLayoutId id="2147493568" r:id="rId21"/>
    <p:sldLayoutId id="2147493569" r:id="rId22"/>
    <p:sldLayoutId id="2147493570" r:id="rId23"/>
    <p:sldLayoutId id="2147493571" r:id="rId24"/>
    <p:sldLayoutId id="2147493572" r:id="rId25"/>
    <p:sldLayoutId id="2147493573" r:id="rId26"/>
    <p:sldLayoutId id="2147493574" r:id="rId27"/>
    <p:sldLayoutId id="2147493575" r:id="rId28"/>
    <p:sldLayoutId id="2147493576" r:id="rId29"/>
    <p:sldLayoutId id="2147493577" r:id="rId30"/>
    <p:sldLayoutId id="2147493578" r:id="rId31"/>
    <p:sldLayoutId id="2147493579" r:id="rId32"/>
    <p:sldLayoutId id="2147493580" r:id="rId33"/>
    <p:sldLayoutId id="2147493581" r:id="rId34"/>
    <p:sldLayoutId id="2147493582" r:id="rId35"/>
    <p:sldLayoutId id="2147493583" r:id="rId36"/>
    <p:sldLayoutId id="2147493584" r:id="rId37"/>
    <p:sldLayoutId id="2147493585" r:id="rId38"/>
    <p:sldLayoutId id="2147493586" r:id="rId39"/>
    <p:sldLayoutId id="2147493587" r:id="rId40"/>
    <p:sldLayoutId id="2147493588" r:id="rId41"/>
    <p:sldLayoutId id="2147493589" r:id="rId42"/>
    <p:sldLayoutId id="2147493590" r:id="rId43"/>
    <p:sldLayoutId id="2147493591" r:id="rId44"/>
    <p:sldLayoutId id="2147493592" r:id="rId45"/>
    <p:sldLayoutId id="2147493593" r:id="rId46"/>
    <p:sldLayoutId id="2147493594" r:id="rId47"/>
    <p:sldLayoutId id="2147493595" r:id="rId48"/>
    <p:sldLayoutId id="2147493596" r:id="rId49"/>
    <p:sldLayoutId id="2147493597" r:id="rId50"/>
    <p:sldLayoutId id="2147493598" r:id="rId51"/>
    <p:sldLayoutId id="2147493599" r:id="rId52"/>
    <p:sldLayoutId id="2147493600" r:id="rId53"/>
    <p:sldLayoutId id="2147493601" r:id="rId54"/>
    <p:sldLayoutId id="2147493602" r:id="rId55"/>
    <p:sldLayoutId id="2147493603" r:id="rId56"/>
    <p:sldLayoutId id="2147493604" r:id="rId57"/>
    <p:sldLayoutId id="2147493605" r:id="rId58"/>
    <p:sldLayoutId id="2147493606" r:id="rId59"/>
    <p:sldLayoutId id="2147493607" r:id="rId60"/>
    <p:sldLayoutId id="2147493608" r:id="rId61"/>
    <p:sldLayoutId id="2147493609" r:id="rId62"/>
    <p:sldLayoutId id="2147493610" r:id="rId63"/>
    <p:sldLayoutId id="2147493611" r:id="rId64"/>
    <p:sldLayoutId id="2147493612" r:id="rId65"/>
    <p:sldLayoutId id="2147493613" r:id="rId66"/>
    <p:sldLayoutId id="2147493614" r:id="rId67"/>
    <p:sldLayoutId id="2147493615" r:id="rId68"/>
    <p:sldLayoutId id="2147493616" r:id="rId69"/>
    <p:sldLayoutId id="2147493617" r:id="rId70"/>
    <p:sldLayoutId id="2147493618" r:id="rId71"/>
    <p:sldLayoutId id="2147493619" r:id="rId72"/>
    <p:sldLayoutId id="2147493620" r:id="rId73"/>
    <p:sldLayoutId id="2147493621" r:id="rId7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470" r:id="rId1"/>
    <p:sldLayoutId id="2147485490" r:id="rId2"/>
    <p:sldLayoutId id="2147485472" r:id="rId3"/>
    <p:sldLayoutId id="2147484580" r:id="rId4"/>
    <p:sldLayoutId id="2147484609" r:id="rId5"/>
    <p:sldLayoutId id="2147484577" r:id="rId6"/>
    <p:sldLayoutId id="2147484610" r:id="rId7"/>
    <p:sldLayoutId id="2147484710" r:id="rId8"/>
    <p:sldLayoutId id="2147484240" r:id="rId9"/>
    <p:sldLayoutId id="2147484910" r:id="rId10"/>
    <p:sldLayoutId id="2147484911" r:id="rId11"/>
    <p:sldLayoutId id="2147484639" r:id="rId12"/>
    <p:sldLayoutId id="2147484603" r:id="rId13"/>
    <p:sldLayoutId id="2147484833" r:id="rId14"/>
    <p:sldLayoutId id="2147484834" r:id="rId15"/>
    <p:sldLayoutId id="2147484835" r:id="rId16"/>
    <p:sldLayoutId id="2147484922" r:id="rId17"/>
    <p:sldLayoutId id="2147484923" r:id="rId18"/>
    <p:sldLayoutId id="2147484924" r:id="rId19"/>
    <p:sldLayoutId id="2147484839" r:id="rId20"/>
    <p:sldLayoutId id="2147484840" r:id="rId21"/>
    <p:sldLayoutId id="2147484841" r:id="rId22"/>
    <p:sldLayoutId id="2147484842" r:id="rId23"/>
    <p:sldLayoutId id="2147484843" r:id="rId24"/>
    <p:sldLayoutId id="2147484931" r:id="rId25"/>
    <p:sldLayoutId id="2147484787" r:id="rId26"/>
    <p:sldLayoutId id="2147484249" r:id="rId27"/>
    <p:sldLayoutId id="2147484640" r:id="rId28"/>
    <p:sldLayoutId id="2147484584" r:id="rId29"/>
    <p:sldLayoutId id="2147484583" r:id="rId30"/>
    <p:sldLayoutId id="2147484671" r:id="rId31"/>
    <p:sldLayoutId id="2147484673" r:id="rId32"/>
    <p:sldLayoutId id="2147484585" r:id="rId33"/>
    <p:sldLayoutId id="2147484299" r:id="rId34"/>
    <p:sldLayoutId id="2147484263" r:id="rId35"/>
    <p:sldLayoutId id="2147485491" r:id="rId36"/>
    <p:sldLayoutId id="2147485493" r:id="rId37"/>
    <p:sldLayoutId id="2147493141" r:id="rId38"/>
    <p:sldLayoutId id="2147493142" r:id="rId39"/>
    <p:sldLayoutId id="2147493143"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4773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0703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8970406" y="3221594"/>
            <a:ext cx="6858000" cy="414812"/>
          </a:xfrm>
          <a:prstGeom prst="rect">
            <a:avLst/>
          </a:prstGeom>
        </p:spPr>
      </p:pic>
      <p:sp>
        <p:nvSpPr>
          <p:cNvPr id="6" name="Slide Number Placeholder 5">
            <a:extLst>
              <a:ext uri="{FF2B5EF4-FFF2-40B4-BE49-F238E27FC236}">
                <a16:creationId xmlns:a16="http://schemas.microsoft.com/office/drawing/2014/main" id="{EB81E747-C29F-4664-9F59-E15AB9068433}"/>
              </a:ext>
            </a:extLst>
          </p:cNvPr>
          <p:cNvSpPr>
            <a:spLocks noGrp="1"/>
          </p:cNvSpPr>
          <p:nvPr>
            <p:ph type="sldNum" sz="quarter" idx="4"/>
          </p:nvPr>
        </p:nvSpPr>
        <p:spPr>
          <a:xfrm>
            <a:off x="11493475" y="6400413"/>
            <a:ext cx="279884" cy="276999"/>
          </a:xfrm>
          <a:prstGeom prst="rect">
            <a:avLst/>
          </a:prstGeom>
        </p:spPr>
        <p:txBody>
          <a:bodyPr vert="horz" wrap="none" lIns="91440" tIns="45720" rIns="0" bIns="45720" rtlCol="0" anchor="ctr">
            <a:spAutoFit/>
          </a:bodyPr>
          <a:lstStyle>
            <a:lvl1pPr algn="r">
              <a:defRPr sz="1200">
                <a:solidFill>
                  <a:schemeClr val="tx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62794653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Lst>
  <p:transition>
    <p:fade/>
  </p:transition>
  <p:hf hdr="0" ftr="0" dt="0"/>
  <p:txStyles>
    <p:titleStyle>
      <a:lvl1pPr algn="l" defTabSz="914192"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userDrawn="1">
          <p15:clr>
            <a:srgbClr val="F26B43"/>
          </p15:clr>
        </p15:guide>
        <p15:guide id="17" pos="7416"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36" userDrawn="1">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9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459490"/>
      </p:ext>
    </p:extLst>
  </p:cSld>
  <p:clrMap bg1="lt1" tx1="dk1" bg2="lt2" tx2="dk2" accent1="accent1" accent2="accent2" accent3="accent3" accent4="accent4" accent5="accent5" accent6="accent6" hlink="hlink" folHlink="folHlink"/>
  <p:sldLayoutIdLst>
    <p:sldLayoutId id="2147492481" r:id="rId1"/>
    <p:sldLayoutId id="2147492482" r:id="rId2"/>
    <p:sldLayoutId id="2147492483" r:id="rId3"/>
    <p:sldLayoutId id="2147492484" r:id="rId4"/>
    <p:sldLayoutId id="2147492485" r:id="rId5"/>
    <p:sldLayoutId id="2147492486" r:id="rId6"/>
    <p:sldLayoutId id="2147492487" r:id="rId7"/>
    <p:sldLayoutId id="2147492488" r:id="rId8"/>
    <p:sldLayoutId id="2147492489" r:id="rId9"/>
    <p:sldLayoutId id="2147492490" r:id="rId10"/>
    <p:sldLayoutId id="2147492491" r:id="rId11"/>
    <p:sldLayoutId id="2147492492" r:id="rId12"/>
    <p:sldLayoutId id="2147492493" r:id="rId13"/>
    <p:sldLayoutId id="2147492494" r:id="rId14"/>
    <p:sldLayoutId id="2147492495" r:id="rId15"/>
    <p:sldLayoutId id="2147492496" r:id="rId16"/>
    <p:sldLayoutId id="2147492497" r:id="rId17"/>
    <p:sldLayoutId id="2147492498" r:id="rId18"/>
    <p:sldLayoutId id="2147483780" r:id="rId19"/>
    <p:sldLayoutId id="2147492836" r:id="rId20"/>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0"/>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25780112"/>
      </p:ext>
    </p:extLst>
  </p:cSld>
  <p:clrMap bg1="lt1" tx1="dk1" bg2="lt2" tx2="dk2" accent1="accent1" accent2="accent2" accent3="accent3" accent4="accent4" accent5="accent5" accent6="accent6" hlink="hlink" folHlink="folHlink"/>
  <p:sldLayoutIdLst>
    <p:sldLayoutId id="2147492819" r:id="rId1"/>
    <p:sldLayoutId id="2147492820" r:id="rId2"/>
    <p:sldLayoutId id="2147492821" r:id="rId3"/>
    <p:sldLayoutId id="2147492822" r:id="rId4"/>
    <p:sldLayoutId id="2147492823" r:id="rId5"/>
    <p:sldLayoutId id="2147492824" r:id="rId6"/>
    <p:sldLayoutId id="2147492825" r:id="rId7"/>
    <p:sldLayoutId id="2147492826" r:id="rId8"/>
    <p:sldLayoutId id="2147492827" r:id="rId9"/>
    <p:sldLayoutId id="2147492828" r:id="rId10"/>
    <p:sldLayoutId id="2147492829" r:id="rId11"/>
    <p:sldLayoutId id="2147492830" r:id="rId12"/>
    <p:sldLayoutId id="2147492831" r:id="rId13"/>
    <p:sldLayoutId id="2147492832" r:id="rId14"/>
    <p:sldLayoutId id="2147492833" r:id="rId15"/>
    <p:sldLayoutId id="2147492834" r:id="rId16"/>
    <p:sldLayoutId id="2147492835" r:id="rId17"/>
    <p:sldLayoutId id="2147493622" r:id="rId1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7340355"/>
      </p:ext>
    </p:extLst>
  </p:cSld>
  <p:clrMap bg1="lt1" tx1="dk1" bg2="lt2" tx2="dk2" accent1="accent1" accent2="accent2" accent3="accent3" accent4="accent4" accent5="accent5" accent6="accent6" hlink="hlink" folHlink="folHlink"/>
  <p:sldLayoutIdLst>
    <p:sldLayoutId id="2147493017" r:id="rId1"/>
    <p:sldLayoutId id="2147493018" r:id="rId2"/>
    <p:sldLayoutId id="2147493019" r:id="rId3"/>
    <p:sldLayoutId id="2147493020" r:id="rId4"/>
    <p:sldLayoutId id="2147493021" r:id="rId5"/>
    <p:sldLayoutId id="2147493022" r:id="rId6"/>
    <p:sldLayoutId id="2147493023" r:id="rId7"/>
    <p:sldLayoutId id="2147493024" r:id="rId8"/>
    <p:sldLayoutId id="2147493025" r:id="rId9"/>
    <p:sldLayoutId id="2147493026" r:id="rId10"/>
    <p:sldLayoutId id="2147493027" r:id="rId11"/>
    <p:sldLayoutId id="2147493028" r:id="rId12"/>
    <p:sldLayoutId id="2147493029" r:id="rId13"/>
    <p:sldLayoutId id="2147493030" r:id="rId14"/>
    <p:sldLayoutId id="2147493031" r:id="rId15"/>
    <p:sldLayoutId id="2147493032" r:id="rId16"/>
    <p:sldLayoutId id="2147493033" r:id="rId17"/>
    <p:sldLayoutId id="2147493034" r:id="rId18"/>
    <p:sldLayoutId id="2147493035" r:id="rId19"/>
    <p:sldLayoutId id="2147493036" r:id="rId20"/>
    <p:sldLayoutId id="2147493037" r:id="rId21"/>
    <p:sldLayoutId id="2147493038" r:id="rId22"/>
    <p:sldLayoutId id="2147493039" r:id="rId23"/>
    <p:sldLayoutId id="2147493040" r:id="rId24"/>
    <p:sldLayoutId id="2147493041" r:id="rId25"/>
    <p:sldLayoutId id="2147493042" r:id="rId26"/>
    <p:sldLayoutId id="2147493043" r:id="rId27"/>
    <p:sldLayoutId id="2147493044" r:id="rId28"/>
    <p:sldLayoutId id="2147493045" r:id="rId29"/>
    <p:sldLayoutId id="2147493046" r:id="rId30"/>
    <p:sldLayoutId id="2147493047" r:id="rId31"/>
    <p:sldLayoutId id="2147493048" r:id="rId32"/>
    <p:sldLayoutId id="2147493049" r:id="rId33"/>
    <p:sldLayoutId id="2147493050" r:id="rId34"/>
    <p:sldLayoutId id="2147493051" r:id="rId35"/>
    <p:sldLayoutId id="2147493052" r:id="rId36"/>
    <p:sldLayoutId id="2147493053" r:id="rId37"/>
    <p:sldLayoutId id="2147493054" r:id="rId38"/>
    <p:sldLayoutId id="2147493055" r:id="rId39"/>
    <p:sldLayoutId id="2147493056"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1481825506"/>
      </p:ext>
    </p:extLst>
  </p:cSld>
  <p:clrMap bg1="lt1" tx1="dk1" bg2="lt2" tx2="dk2" accent1="accent1" accent2="accent2" accent3="accent3" accent4="accent4" accent5="accent5" accent6="accent6" hlink="hlink" folHlink="folHlink"/>
  <p:sldLayoutIdLst>
    <p:sldLayoutId id="2147493221" r:id="rId1"/>
    <p:sldLayoutId id="2147493222" r:id="rId2"/>
    <p:sldLayoutId id="2147493223" r:id="rId3"/>
    <p:sldLayoutId id="2147493224" r:id="rId4"/>
    <p:sldLayoutId id="2147493225" r:id="rId5"/>
    <p:sldLayoutId id="2147493226" r:id="rId6"/>
    <p:sldLayoutId id="2147493227" r:id="rId7"/>
    <p:sldLayoutId id="2147493228" r:id="rId8"/>
    <p:sldLayoutId id="2147493229" r:id="rId9"/>
    <p:sldLayoutId id="2147493230" r:id="rId10"/>
    <p:sldLayoutId id="2147493231" r:id="rId11"/>
    <p:sldLayoutId id="2147493232" r:id="rId12"/>
    <p:sldLayoutId id="2147493233" r:id="rId13"/>
    <p:sldLayoutId id="2147493234" r:id="rId14"/>
    <p:sldLayoutId id="2147493235" r:id="rId15"/>
    <p:sldLayoutId id="2147493236" r:id="rId16"/>
    <p:sldLayoutId id="2147493237" r:id="rId17"/>
    <p:sldLayoutId id="2147493238" r:id="rId18"/>
    <p:sldLayoutId id="2147493239" r:id="rId19"/>
    <p:sldLayoutId id="2147493240" r:id="rId20"/>
    <p:sldLayoutId id="2147493241" r:id="rId21"/>
    <p:sldLayoutId id="2147493242" r:id="rId22"/>
    <p:sldLayoutId id="2147493243" r:id="rId23"/>
    <p:sldLayoutId id="2147493244" r:id="rId24"/>
    <p:sldLayoutId id="2147493245" r:id="rId25"/>
    <p:sldLayoutId id="2147493246" r:id="rId26"/>
    <p:sldLayoutId id="2147493247" r:id="rId27"/>
    <p:sldLayoutId id="2147493248" r:id="rId28"/>
    <p:sldLayoutId id="2147493249" r:id="rId29"/>
    <p:sldLayoutId id="2147493250" r:id="rId30"/>
    <p:sldLayoutId id="2147493251" r:id="rId31"/>
    <p:sldLayoutId id="2147493252" r:id="rId32"/>
    <p:sldLayoutId id="2147493253" r:id="rId33"/>
    <p:sldLayoutId id="2147493254" r:id="rId34"/>
    <p:sldLayoutId id="2147493255" r:id="rId35"/>
    <p:sldLayoutId id="2147493256" r:id="rId36"/>
    <p:sldLayoutId id="2147493257" r:id="rId37"/>
    <p:sldLayoutId id="2147493258" r:id="rId38"/>
    <p:sldLayoutId id="2147493259" r:id="rId39"/>
    <p:sldLayoutId id="2147493260" r:id="rId40"/>
    <p:sldLayoutId id="2147493261" r:id="rId41"/>
    <p:sldLayoutId id="2147493262" r:id="rId42"/>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33962007"/>
      </p:ext>
    </p:extLst>
  </p:cSld>
  <p:clrMap bg1="lt1" tx1="dk1" bg2="lt2" tx2="dk2" accent1="accent1" accent2="accent2" accent3="accent3" accent4="accent4" accent5="accent5" accent6="accent6" hlink="hlink" folHlink="folHlink"/>
  <p:sldLayoutIdLst>
    <p:sldLayoutId id="2147493317" r:id="rId1"/>
    <p:sldLayoutId id="2147493318" r:id="rId2"/>
    <p:sldLayoutId id="2147493319" r:id="rId3"/>
    <p:sldLayoutId id="2147493320" r:id="rId4"/>
    <p:sldLayoutId id="2147493321" r:id="rId5"/>
    <p:sldLayoutId id="2147493322" r:id="rId6"/>
    <p:sldLayoutId id="2147493323" r:id="rId7"/>
    <p:sldLayoutId id="2147493324" r:id="rId8"/>
    <p:sldLayoutId id="2147493325" r:id="rId9"/>
    <p:sldLayoutId id="2147493326" r:id="rId10"/>
    <p:sldLayoutId id="2147493327" r:id="rId11"/>
    <p:sldLayoutId id="2147493328" r:id="rId12"/>
    <p:sldLayoutId id="2147493329" r:id="rId13"/>
    <p:sldLayoutId id="2147493330" r:id="rId14"/>
    <p:sldLayoutId id="2147493331" r:id="rId15"/>
    <p:sldLayoutId id="2147493332" r:id="rId16"/>
    <p:sldLayoutId id="2147493333" r:id="rId17"/>
    <p:sldLayoutId id="2147493334" r:id="rId18"/>
    <p:sldLayoutId id="2147493335" r:id="rId19"/>
    <p:sldLayoutId id="2147493336" r:id="rId20"/>
    <p:sldLayoutId id="2147493337" r:id="rId21"/>
    <p:sldLayoutId id="2147493338" r:id="rId22"/>
    <p:sldLayoutId id="2147493339" r:id="rId23"/>
    <p:sldLayoutId id="2147493340" r:id="rId24"/>
    <p:sldLayoutId id="2147493341" r:id="rId25"/>
    <p:sldLayoutId id="2147493342" r:id="rId26"/>
    <p:sldLayoutId id="2147493343" r:id="rId27"/>
    <p:sldLayoutId id="2147493344" r:id="rId28"/>
    <p:sldLayoutId id="2147493345" r:id="rId29"/>
    <p:sldLayoutId id="2147493346" r:id="rId30"/>
    <p:sldLayoutId id="2147493347" r:id="rId31"/>
    <p:sldLayoutId id="2147493348" r:id="rId32"/>
    <p:sldLayoutId id="2147493349" r:id="rId33"/>
    <p:sldLayoutId id="2147493350" r:id="rId34"/>
    <p:sldLayoutId id="2147493351" r:id="rId35"/>
    <p:sldLayoutId id="2147493352" r:id="rId36"/>
    <p:sldLayoutId id="2147493353" r:id="rId37"/>
    <p:sldLayoutId id="2147493354" r:id="rId38"/>
    <p:sldLayoutId id="2147493355" r:id="rId39"/>
    <p:sldLayoutId id="2147493356" r:id="rId40"/>
    <p:sldLayoutId id="2147493357" r:id="rId41"/>
    <p:sldLayoutId id="2147493358" r:id="rId42"/>
    <p:sldLayoutId id="2147493359" r:id="rId43"/>
    <p:sldLayoutId id="2147493360" r:id="rId44"/>
    <p:sldLayoutId id="2147493361" r:id="rId45"/>
    <p:sldLayoutId id="2147493362" r:id="rId46"/>
    <p:sldLayoutId id="2147493363" r:id="rId47"/>
    <p:sldLayoutId id="2147493364" r:id="rId48"/>
    <p:sldLayoutId id="2147493365" r:id="rId49"/>
    <p:sldLayoutId id="2147493366" r:id="rId50"/>
    <p:sldLayoutId id="2147493367" r:id="rId51"/>
    <p:sldLayoutId id="2147493368" r:id="rId52"/>
    <p:sldLayoutId id="2147493369" r:id="rId53"/>
    <p:sldLayoutId id="2147493370" r:id="rId54"/>
    <p:sldLayoutId id="2147493371" r:id="rId55"/>
    <p:sldLayoutId id="2147493372" r:id="rId56"/>
    <p:sldLayoutId id="2147493373" r:id="rId57"/>
    <p:sldLayoutId id="2147493374" r:id="rId58"/>
    <p:sldLayoutId id="2147493375" r:id="rId59"/>
    <p:sldLayoutId id="2147493376" r:id="rId60"/>
    <p:sldLayoutId id="2147493377" r:id="rId61"/>
    <p:sldLayoutId id="2147493378" r:id="rId62"/>
    <p:sldLayoutId id="2147493379" r:id="rId63"/>
    <p:sldLayoutId id="2147493380" r:id="rId64"/>
    <p:sldLayoutId id="2147493381" r:id="rId65"/>
    <p:sldLayoutId id="2147493382" r:id="rId66"/>
    <p:sldLayoutId id="2147493383" r:id="rId67"/>
    <p:sldLayoutId id="2147493384" r:id="rId68"/>
    <p:sldLayoutId id="2147493385" r:id="rId69"/>
    <p:sldLayoutId id="2147493386" r:id="rId70"/>
    <p:sldLayoutId id="2147493389" r:id="rId71"/>
    <p:sldLayoutId id="2147493390" r:id="rId72"/>
    <p:sldLayoutId id="2147493391" r:id="rId7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FBB197CB-1310-451B-8F83-172EF4568CF7}"/>
              </a:ext>
            </a:extLst>
          </p:cNvPr>
          <p:cNvSpPr>
            <a:spLocks noGrp="1"/>
          </p:cNvSpPr>
          <p:nvPr>
            <p:ph type="title"/>
          </p:nvPr>
        </p:nvSpPr>
        <p:spPr>
          <a:xfrm>
            <a:off x="716280" y="136525"/>
            <a:ext cx="11049000" cy="644102"/>
          </a:xfrm>
          <a:prstGeom prst="rect">
            <a:avLst/>
          </a:prstGeom>
        </p:spPr>
        <p:txBody>
          <a:bodyPr vert="horz" lIns="91440" tIns="45720" rIns="91440" bIns="45720" rtlCol="0" anchor="ctr">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275C3F02-DA59-46D5-9FDF-15E159DF9247}"/>
              </a:ext>
            </a:extLst>
          </p:cNvPr>
          <p:cNvSpPr>
            <a:spLocks noGrp="1"/>
          </p:cNvSpPr>
          <p:nvPr>
            <p:ph type="body" idx="1"/>
          </p:nvPr>
        </p:nvSpPr>
        <p:spPr>
          <a:xfrm>
            <a:off x="716280" y="1341120"/>
            <a:ext cx="10764520" cy="483584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765005871"/>
      </p:ext>
    </p:extLst>
  </p:cSld>
  <p:clrMap bg1="lt1" tx1="dk1" bg2="lt2" tx2="dk2" accent1="accent1" accent2="accent2" accent3="accent3" accent4="accent4" accent5="accent5" accent6="accent6" hlink="hlink" folHlink="folHlink"/>
  <p:sldLayoutIdLst>
    <p:sldLayoutId id="2147493394" r:id="rId1"/>
    <p:sldLayoutId id="2147493395" r:id="rId2"/>
    <p:sldLayoutId id="2147493396" r:id="rId3"/>
    <p:sldLayoutId id="2147493397" r:id="rId4"/>
    <p:sldLayoutId id="2147493398" r:id="rId5"/>
    <p:sldLayoutId id="2147493399" r:id="rId6"/>
    <p:sldLayoutId id="2147493400" r:id="rId7"/>
    <p:sldLayoutId id="2147493401" r:id="rId8"/>
    <p:sldLayoutId id="2147493402" r:id="rId9"/>
    <p:sldLayoutId id="2147493403" r:id="rId10"/>
    <p:sldLayoutId id="2147493404" r:id="rId11"/>
    <p:sldLayoutId id="2147493405" r:id="rId12"/>
    <p:sldLayoutId id="2147493406" r:id="rId13"/>
    <p:sldLayoutId id="2147493407" r:id="rId14"/>
    <p:sldLayoutId id="2147493408" r:id="rId15"/>
    <p:sldLayoutId id="2147493409" r:id="rId16"/>
  </p:sldLayoutIdLst>
  <p:txStyles>
    <p:titleStyle>
      <a:lvl1pPr algn="l" defTabSz="914400" rtl="0" eaLnBrk="1" latinLnBrk="0" hangingPunct="1">
        <a:lnSpc>
          <a:spcPct val="90000"/>
        </a:lnSpc>
        <a:spcBef>
          <a:spcPct val="0"/>
        </a:spcBef>
        <a:buNone/>
        <a:defRPr sz="4400" b="0" kern="1200">
          <a:solidFill>
            <a:srgbClr val="0070C0"/>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Clr>
          <a:srgbClr val="0070C0"/>
        </a:buClr>
        <a:buFont typeface="Wingdings" panose="05000000000000000000" pitchFamily="2" charset="2"/>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0C0"/>
        </a:buClr>
        <a:buFont typeface="Wingdings" panose="05000000000000000000" pitchFamily="2" charset="2"/>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0C0"/>
        </a:buClr>
        <a:buFont typeface="Wingdings" panose="05000000000000000000" pitchFamily="2" charset="2"/>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1.xml"/><Relationship Id="rId1" Type="http://schemas.openxmlformats.org/officeDocument/2006/relationships/slideLayout" Target="../slideLayouts/slideLayout10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6.xml"/></Relationships>
</file>

<file path=ppt/slides/_rels/slide11.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09.emf"/><Relationship Id="rId7" Type="http://schemas.openxmlformats.org/officeDocument/2006/relationships/image" Target="../media/image113.emf"/><Relationship Id="rId2" Type="http://schemas.openxmlformats.org/officeDocument/2006/relationships/notesSlide" Target="../notesSlides/notesSlide6.xml"/><Relationship Id="rId1" Type="http://schemas.openxmlformats.org/officeDocument/2006/relationships/slideLayout" Target="../slideLayouts/slideLayout276.xml"/><Relationship Id="rId6" Type="http://schemas.openxmlformats.org/officeDocument/2006/relationships/image" Target="../media/image112.emf"/><Relationship Id="rId11" Type="http://schemas.openxmlformats.org/officeDocument/2006/relationships/image" Target="../media/image117.png"/><Relationship Id="rId5" Type="http://schemas.openxmlformats.org/officeDocument/2006/relationships/image" Target="../media/image111.png"/><Relationship Id="rId10" Type="http://schemas.openxmlformats.org/officeDocument/2006/relationships/image" Target="../media/image116.emf"/><Relationship Id="rId4" Type="http://schemas.openxmlformats.org/officeDocument/2006/relationships/image" Target="../media/image110.emf"/><Relationship Id="rId9" Type="http://schemas.openxmlformats.org/officeDocument/2006/relationships/image" Target="../media/image115.emf"/></Relationships>
</file>

<file path=ppt/slides/_rels/slide12.xml.rels><?xml version="1.0" encoding="UTF-8" standalone="yes"?>
<Relationships xmlns="http://schemas.openxmlformats.org/package/2006/relationships"><Relationship Id="rId2" Type="http://schemas.openxmlformats.org/officeDocument/2006/relationships/image" Target="../media/image118.emf"/><Relationship Id="rId1" Type="http://schemas.openxmlformats.org/officeDocument/2006/relationships/slideLayout" Target="../slideLayouts/slideLayout279.xml"/></Relationships>
</file>

<file path=ppt/slides/_rels/slide13.xml.rels><?xml version="1.0" encoding="UTF-8" standalone="yes"?>
<Relationships xmlns="http://schemas.openxmlformats.org/package/2006/relationships"><Relationship Id="rId2" Type="http://schemas.openxmlformats.org/officeDocument/2006/relationships/image" Target="../media/image119.emf"/><Relationship Id="rId1" Type="http://schemas.openxmlformats.org/officeDocument/2006/relationships/slideLayout" Target="../slideLayouts/slideLayout279.xml"/></Relationships>
</file>

<file path=ppt/slides/_rels/slide14.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7.xml"/><Relationship Id="rId1" Type="http://schemas.openxmlformats.org/officeDocument/2006/relationships/slideLayout" Target="../slideLayouts/slideLayout107.xml"/></Relationships>
</file>

<file path=ppt/slides/_rels/slide1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8.xml"/><Relationship Id="rId1" Type="http://schemas.openxmlformats.org/officeDocument/2006/relationships/slideLayout" Target="../slideLayouts/slideLayout282.xml"/><Relationship Id="rId4" Type="http://schemas.microsoft.com/office/2007/relationships/hdphoto" Target="../media/hdphoto1.wdp"/></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8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19.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106.xml"/><Relationship Id="rId6" Type="http://schemas.openxmlformats.org/officeDocument/2006/relationships/image" Target="../media/image124.png"/><Relationship Id="rId5" Type="http://schemas.openxmlformats.org/officeDocument/2006/relationships/image" Target="../media/image123.png"/><Relationship Id="rId4" Type="http://schemas.openxmlformats.org/officeDocument/2006/relationships/hyperlink" Target="https://www.microsoft.com/en-us/microsoft-365/roadmap?filters=&amp;searchterms=retention" TargetMode="External"/></Relationships>
</file>

<file path=ppt/slides/_rels/slide2.xml.rels><?xml version="1.0" encoding="UTF-8" standalone="yes"?>
<Relationships xmlns="http://schemas.openxmlformats.org/package/2006/relationships"><Relationship Id="rId2" Type="http://schemas.openxmlformats.org/officeDocument/2006/relationships/hyperlink" Target="https://dictionary.cambridge.org/dictionary/english/vision" TargetMode="External"/><Relationship Id="rId1" Type="http://schemas.openxmlformats.org/officeDocument/2006/relationships/slideLayout" Target="../slideLayouts/slideLayout10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4.xml"/></Relationships>
</file>

<file path=ppt/slides/_rels/slide4.xml.rels><?xml version="1.0" encoding="UTF-8" standalone="yes"?>
<Relationships xmlns="http://schemas.openxmlformats.org/package/2006/relationships"><Relationship Id="rId3" Type="http://schemas.openxmlformats.org/officeDocument/2006/relationships/image" Target="../media/image82.emf"/><Relationship Id="rId2" Type="http://schemas.openxmlformats.org/officeDocument/2006/relationships/notesSlide" Target="../notesSlides/notesSlide3.xml"/><Relationship Id="rId1" Type="http://schemas.openxmlformats.org/officeDocument/2006/relationships/slideLayout" Target="../slideLayouts/slideLayout279.xml"/><Relationship Id="rId4" Type="http://schemas.openxmlformats.org/officeDocument/2006/relationships/image" Target="../media/image83.emf"/></Relationships>
</file>

<file path=ppt/slides/_rels/slide5.xml.rels><?xml version="1.0" encoding="UTF-8" standalone="yes"?>
<Relationships xmlns="http://schemas.openxmlformats.org/package/2006/relationships"><Relationship Id="rId3" Type="http://schemas.openxmlformats.org/officeDocument/2006/relationships/image" Target="../media/image85.emf"/><Relationship Id="rId2" Type="http://schemas.openxmlformats.org/officeDocument/2006/relationships/image" Target="../media/image84.emf"/><Relationship Id="rId1" Type="http://schemas.openxmlformats.org/officeDocument/2006/relationships/slideLayout" Target="../slideLayouts/slideLayout279.xml"/></Relationships>
</file>

<file path=ppt/slides/_rels/slide6.xml.rels><?xml version="1.0" encoding="UTF-8" standalone="yes"?>
<Relationships xmlns="http://schemas.openxmlformats.org/package/2006/relationships"><Relationship Id="rId2" Type="http://schemas.openxmlformats.org/officeDocument/2006/relationships/image" Target="../media/image86.emf"/><Relationship Id="rId1" Type="http://schemas.openxmlformats.org/officeDocument/2006/relationships/slideLayout" Target="../slideLayouts/slideLayout279.xml"/></Relationships>
</file>

<file path=ppt/slides/_rels/slide7.xml.rels><?xml version="1.0" encoding="UTF-8" standalone="yes"?>
<Relationships xmlns="http://schemas.openxmlformats.org/package/2006/relationships"><Relationship Id="rId8" Type="http://schemas.openxmlformats.org/officeDocument/2006/relationships/image" Target="../media/image92.emf"/><Relationship Id="rId3" Type="http://schemas.openxmlformats.org/officeDocument/2006/relationships/image" Target="../media/image87.emf"/><Relationship Id="rId7" Type="http://schemas.openxmlformats.org/officeDocument/2006/relationships/image" Target="../media/image91.emf"/><Relationship Id="rId2" Type="http://schemas.openxmlformats.org/officeDocument/2006/relationships/notesSlide" Target="../notesSlides/notesSlide4.xml"/><Relationship Id="rId1" Type="http://schemas.openxmlformats.org/officeDocument/2006/relationships/slideLayout" Target="../slideLayouts/slideLayout279.xml"/><Relationship Id="rId6" Type="http://schemas.openxmlformats.org/officeDocument/2006/relationships/image" Target="../media/image90.emf"/><Relationship Id="rId11" Type="http://schemas.openxmlformats.org/officeDocument/2006/relationships/image" Target="../media/image95.emf"/><Relationship Id="rId5" Type="http://schemas.openxmlformats.org/officeDocument/2006/relationships/image" Target="../media/image89.emf"/><Relationship Id="rId10" Type="http://schemas.openxmlformats.org/officeDocument/2006/relationships/image" Target="../media/image94.emf"/><Relationship Id="rId4" Type="http://schemas.openxmlformats.org/officeDocument/2006/relationships/image" Target="../media/image88.emf"/><Relationship Id="rId9" Type="http://schemas.openxmlformats.org/officeDocument/2006/relationships/image" Target="../media/image93.emf"/></Relationships>
</file>

<file path=ppt/slides/_rels/slide8.x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image" Target="../media/image96.emf"/><Relationship Id="rId1" Type="http://schemas.openxmlformats.org/officeDocument/2006/relationships/slideLayout" Target="../slideLayouts/slideLayout279.xml"/><Relationship Id="rId5" Type="http://schemas.openxmlformats.org/officeDocument/2006/relationships/image" Target="../media/image99.emf"/><Relationship Id="rId4" Type="http://schemas.openxmlformats.org/officeDocument/2006/relationships/image" Target="../media/image98.emf"/></Relationships>
</file>

<file path=ppt/slides/_rels/slide9.xml.rels><?xml version="1.0" encoding="UTF-8" standalone="yes"?>
<Relationships xmlns="http://schemas.openxmlformats.org/package/2006/relationships"><Relationship Id="rId8" Type="http://schemas.openxmlformats.org/officeDocument/2006/relationships/image" Target="../media/image106.emf"/><Relationship Id="rId3" Type="http://schemas.openxmlformats.org/officeDocument/2006/relationships/image" Target="../media/image101.emf"/><Relationship Id="rId7" Type="http://schemas.openxmlformats.org/officeDocument/2006/relationships/image" Target="../media/image105.emf"/><Relationship Id="rId2" Type="http://schemas.openxmlformats.org/officeDocument/2006/relationships/image" Target="../media/image100.emf"/><Relationship Id="rId1" Type="http://schemas.openxmlformats.org/officeDocument/2006/relationships/slideLayout" Target="../slideLayouts/slideLayout279.xml"/><Relationship Id="rId6" Type="http://schemas.openxmlformats.org/officeDocument/2006/relationships/image" Target="../media/image104.emf"/><Relationship Id="rId5" Type="http://schemas.openxmlformats.org/officeDocument/2006/relationships/image" Target="../media/image103.emf"/><Relationship Id="rId10" Type="http://schemas.openxmlformats.org/officeDocument/2006/relationships/image" Target="../media/image108.emf"/><Relationship Id="rId4" Type="http://schemas.openxmlformats.org/officeDocument/2006/relationships/image" Target="../media/image102.emf"/><Relationship Id="rId9" Type="http://schemas.openxmlformats.org/officeDocument/2006/relationships/image" Target="../media/image10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2945386"/>
            <a:ext cx="5649180" cy="1477328"/>
          </a:xfrm>
        </p:spPr>
        <p:txBody>
          <a:bodyPr/>
          <a:lstStyle/>
          <a:p>
            <a:r>
              <a:rPr lang="en-US" sz="3200" dirty="0"/>
              <a:t>Vision Diagrams Series</a:t>
            </a:r>
            <a:br>
              <a:rPr lang="en-US" sz="3200" dirty="0"/>
            </a:br>
            <a:r>
              <a:rPr lang="en-US" sz="3200" dirty="0"/>
              <a:t>Data Lifecycle Management</a:t>
            </a:r>
            <a:br>
              <a:rPr lang="en-US" sz="3200" dirty="0"/>
            </a:br>
            <a:r>
              <a:rPr lang="en-US" sz="3200" dirty="0"/>
              <a:t>&amp; Records Management</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Data Protection &amp; Compliance - Technical Specialis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
        <p:nvSpPr>
          <p:cNvPr id="3" name="TextBox 2">
            <a:extLst>
              <a:ext uri="{FF2B5EF4-FFF2-40B4-BE49-F238E27FC236}">
                <a16:creationId xmlns:a16="http://schemas.microsoft.com/office/drawing/2014/main" id="{D4EEF675-3C65-4198-94D9-26BCB0A80BB5}"/>
              </a:ext>
            </a:extLst>
          </p:cNvPr>
          <p:cNvSpPr txBox="1"/>
          <p:nvPr/>
        </p:nvSpPr>
        <p:spPr>
          <a:xfrm>
            <a:off x="10674315" y="6632953"/>
            <a:ext cx="1219709" cy="153888"/>
          </a:xfrm>
          <a:prstGeom prst="rect">
            <a:avLst/>
          </a:prstGeom>
          <a:noFill/>
        </p:spPr>
        <p:txBody>
          <a:bodyPr wrap="square" lIns="0" tIns="0" rIns="0" bIns="0" rtlCol="0">
            <a:spAutoFit/>
          </a:bodyPr>
          <a:lstStyle/>
          <a:p>
            <a:pPr algn="l"/>
            <a:r>
              <a:rPr lang="en-US" sz="1000" dirty="0"/>
              <a:t>Version : 2022-07-05</a:t>
            </a:r>
          </a:p>
        </p:txBody>
      </p:sp>
    </p:spTree>
    <p:extLst>
      <p:ext uri="{BB962C8B-B14F-4D97-AF65-F5344CB8AC3E}">
        <p14:creationId xmlns:p14="http://schemas.microsoft.com/office/powerpoint/2010/main" val="179730804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C90CE-3C05-49F4-8645-AA0BDA63D2B4}"/>
              </a:ext>
            </a:extLst>
          </p:cNvPr>
          <p:cNvSpPr>
            <a:spLocks noGrp="1"/>
          </p:cNvSpPr>
          <p:nvPr>
            <p:ph type="title"/>
          </p:nvPr>
        </p:nvSpPr>
        <p:spPr/>
        <p:txBody>
          <a:bodyPr/>
          <a:lstStyle/>
          <a:p>
            <a:r>
              <a:rPr lang="en-US" dirty="0"/>
              <a:t>Retention Rules + Deletion Rules</a:t>
            </a:r>
          </a:p>
        </p:txBody>
      </p:sp>
      <p:sp>
        <p:nvSpPr>
          <p:cNvPr id="3" name="Content Placeholder 2">
            <a:extLst>
              <a:ext uri="{FF2B5EF4-FFF2-40B4-BE49-F238E27FC236}">
                <a16:creationId xmlns:a16="http://schemas.microsoft.com/office/drawing/2014/main" id="{30BB4B8D-D8A3-4B3F-8242-58AC4AE0653D}"/>
              </a:ext>
            </a:extLst>
          </p:cNvPr>
          <p:cNvSpPr>
            <a:spLocks noGrp="1"/>
          </p:cNvSpPr>
          <p:nvPr>
            <p:ph sz="quarter" idx="10"/>
          </p:nvPr>
        </p:nvSpPr>
        <p:spPr>
          <a:xfrm>
            <a:off x="584200" y="1435100"/>
            <a:ext cx="11018838" cy="5158335"/>
          </a:xfrm>
        </p:spPr>
        <p:txBody>
          <a:bodyPr/>
          <a:lstStyle/>
          <a:p>
            <a:r>
              <a:rPr lang="en-US" dirty="0"/>
              <a:t>Identify your current rules</a:t>
            </a:r>
          </a:p>
          <a:p>
            <a:pPr lvl="1"/>
            <a:r>
              <a:rPr lang="en-US" dirty="0"/>
              <a:t>Business + IT + Privacy perspectives</a:t>
            </a:r>
          </a:p>
          <a:p>
            <a:pPr lvl="1"/>
            <a:r>
              <a:rPr lang="en-US" dirty="0"/>
              <a:t>Automatic ? Manual ?</a:t>
            </a:r>
          </a:p>
          <a:p>
            <a:pPr lvl="1"/>
            <a:r>
              <a:rPr lang="en-US" dirty="0"/>
              <a:t>To be kept ? To be replaced ?</a:t>
            </a:r>
          </a:p>
          <a:p>
            <a:pPr marL="228600" lvl="1" indent="0">
              <a:buNone/>
            </a:pPr>
            <a:endParaRPr lang="en-US" dirty="0"/>
          </a:p>
          <a:p>
            <a:r>
              <a:rPr lang="en-US" dirty="0"/>
              <a:t>List your target rules and their goals</a:t>
            </a:r>
          </a:p>
          <a:p>
            <a:pPr lvl="1"/>
            <a:r>
              <a:rPr lang="en-US" dirty="0"/>
              <a:t>Ensure compliance</a:t>
            </a:r>
          </a:p>
          <a:p>
            <a:pPr lvl="1"/>
            <a:r>
              <a:rPr lang="en-US" dirty="0"/>
              <a:t>Control data volumes</a:t>
            </a:r>
          </a:p>
          <a:p>
            <a:pPr lvl="1"/>
            <a:r>
              <a:rPr lang="en-US" dirty="0"/>
              <a:t>Contribute to business processes</a:t>
            </a:r>
          </a:p>
          <a:p>
            <a:pPr marL="228600" lvl="1" indent="0">
              <a:buNone/>
            </a:pPr>
            <a:endParaRPr lang="en-US" dirty="0"/>
          </a:p>
          <a:p>
            <a:r>
              <a:rPr lang="en-US" dirty="0"/>
              <a:t>Know about the rules supported in the MSFT solution</a:t>
            </a:r>
          </a:p>
          <a:p>
            <a:pPr lvl="1"/>
            <a:r>
              <a:rPr lang="en-US" dirty="0"/>
              <a:t>Set of coherent practices</a:t>
            </a:r>
          </a:p>
          <a:p>
            <a:pPr lvl="1"/>
            <a:r>
              <a:rPr lang="en-US" dirty="0"/>
              <a:t>Evolution Roadmap</a:t>
            </a:r>
          </a:p>
        </p:txBody>
      </p:sp>
      <p:sp>
        <p:nvSpPr>
          <p:cNvPr id="4" name="TextBox 3">
            <a:extLst>
              <a:ext uri="{FF2B5EF4-FFF2-40B4-BE49-F238E27FC236}">
                <a16:creationId xmlns:a16="http://schemas.microsoft.com/office/drawing/2014/main" id="{952D6432-33A8-4FBF-B207-1EF0A4809816}"/>
              </a:ext>
            </a:extLst>
          </p:cNvPr>
          <p:cNvSpPr txBox="1"/>
          <p:nvPr/>
        </p:nvSpPr>
        <p:spPr>
          <a:xfrm rot="16200000">
            <a:off x="-3215421" y="3228948"/>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Information Governance </a:t>
            </a:r>
            <a:r>
              <a:rPr kumimoji="0" lang="en-US" sz="2000" b="0" i="0" u="none" strike="noStrike" kern="1200" cap="none" spc="0" normalizeH="0" baseline="0" noProof="0" dirty="0">
                <a:ln>
                  <a:noFill/>
                </a:ln>
                <a:solidFill>
                  <a:srgbClr val="FFFFFF"/>
                </a:solidFill>
                <a:effectLst/>
                <a:uLnTx/>
                <a:uFillTx/>
                <a:latin typeface="Segoe UI"/>
                <a:ea typeface="+mn-ea"/>
                <a:cs typeface="+mn-cs"/>
              </a:rPr>
              <a:t>– Project</a:t>
            </a:r>
          </a:p>
        </p:txBody>
      </p:sp>
    </p:spTree>
    <p:extLst>
      <p:ext uri="{BB962C8B-B14F-4D97-AF65-F5344CB8AC3E}">
        <p14:creationId xmlns:p14="http://schemas.microsoft.com/office/powerpoint/2010/main" val="12755845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1D07CDE-769B-43E9-811F-A8F2E3D4D0CC}"/>
              </a:ext>
            </a:extLst>
          </p:cNvPr>
          <p:cNvSpPr>
            <a:spLocks noGrp="1"/>
          </p:cNvSpPr>
          <p:nvPr>
            <p:ph sz="quarter" idx="10"/>
          </p:nvPr>
        </p:nvSpPr>
        <p:spPr>
          <a:xfrm>
            <a:off x="502424" y="1055958"/>
            <a:ext cx="11018838" cy="4904612"/>
          </a:xfrm>
        </p:spPr>
        <p:txBody>
          <a:bodyPr/>
          <a:lstStyle/>
          <a:p>
            <a:pPr marL="0" indent="0">
              <a:buNone/>
            </a:pPr>
            <a:endParaRPr lang="en-US" sz="1961" dirty="0">
              <a:solidFill>
                <a:srgbClr val="000000"/>
              </a:solidFill>
              <a:latin typeface="Segoe UI"/>
              <a:cs typeface="Segoe UI Semilight" panose="020B0402040204020203" pitchFamily="34" charset="0"/>
            </a:endParaRPr>
          </a:p>
          <a:p>
            <a:pPr marL="0" indent="0">
              <a:buNone/>
            </a:pPr>
            <a:r>
              <a:rPr lang="en-US" sz="1961" dirty="0">
                <a:solidFill>
                  <a:srgbClr val="000000"/>
                </a:solidFill>
                <a:latin typeface="Segoe UI"/>
                <a:cs typeface="Segoe UI Semilight" panose="020B0402040204020203" pitchFamily="34" charset="0"/>
              </a:rPr>
              <a:t>(A) Global Policies - Retention and/or Deletion - Transparent</a:t>
            </a:r>
          </a:p>
          <a:p>
            <a:endParaRPr lang="en-US" sz="1961" dirty="0">
              <a:solidFill>
                <a:srgbClr val="000000"/>
              </a:solidFill>
              <a:latin typeface="Segoe UI"/>
              <a:cs typeface="Segoe UI Semilight" panose="020B0402040204020203" pitchFamily="34" charset="0"/>
            </a:endParaRPr>
          </a:p>
          <a:p>
            <a:pPr marL="0" indent="0">
              <a:buNone/>
            </a:pPr>
            <a:r>
              <a:rPr lang="en-US" sz="1961" dirty="0">
                <a:solidFill>
                  <a:srgbClr val="000000"/>
                </a:solidFill>
                <a:latin typeface="Segoe UI"/>
                <a:cs typeface="Segoe UI Semilight" panose="020B0402040204020203" pitchFamily="34" charset="0"/>
              </a:rPr>
              <a:t>(B) Scoped Policies - Transparent</a:t>
            </a:r>
          </a:p>
          <a:p>
            <a:pPr marL="0" indent="0">
              <a:buNone/>
            </a:pPr>
            <a:endParaRPr lang="en-US" sz="1961" dirty="0">
              <a:solidFill>
                <a:srgbClr val="000000"/>
              </a:solidFill>
              <a:latin typeface="Segoe UI"/>
              <a:cs typeface="Segoe UI Semilight" panose="020B0402040204020203" pitchFamily="34" charset="0"/>
            </a:endParaRPr>
          </a:p>
          <a:p>
            <a:pPr marL="0" indent="0">
              <a:buNone/>
            </a:pPr>
            <a:r>
              <a:rPr lang="en-US" sz="1961" dirty="0">
                <a:solidFill>
                  <a:srgbClr val="000000"/>
                </a:solidFill>
                <a:latin typeface="Segoe UI"/>
                <a:cs typeface="Segoe UI Semilight" panose="020B0402040204020203" pitchFamily="34" charset="0"/>
              </a:rPr>
              <a:t>(C) Automatic Retention Labels - To adapt the scope of your rules and provide visibility to your users </a:t>
            </a:r>
          </a:p>
          <a:p>
            <a:endParaRPr lang="en-US" sz="1961" dirty="0">
              <a:solidFill>
                <a:srgbClr val="000000"/>
              </a:solidFill>
              <a:latin typeface="Segoe UI"/>
              <a:cs typeface="Segoe UI Semilight" panose="020B0402040204020203" pitchFamily="34" charset="0"/>
            </a:endParaRPr>
          </a:p>
          <a:p>
            <a:pPr marL="0" indent="0">
              <a:buNone/>
            </a:pPr>
            <a:r>
              <a:rPr lang="en-US" sz="1961" dirty="0">
                <a:solidFill>
                  <a:srgbClr val="000000"/>
                </a:solidFill>
                <a:latin typeface="Segoe UI"/>
                <a:cs typeface="Segoe UI Semilight" panose="020B0402040204020203" pitchFamily="34" charset="0"/>
              </a:rPr>
              <a:t>(D) Manual Retention Labels - To manage special cases and involve your users</a:t>
            </a:r>
            <a:endParaRPr lang="en-GB" sz="1961" dirty="0">
              <a:solidFill>
                <a:srgbClr val="000000"/>
              </a:solidFill>
              <a:latin typeface="Segoe UI"/>
              <a:cs typeface="Segoe UI Semilight" panose="020B0402040204020203" pitchFamily="34" charset="0"/>
            </a:endParaRPr>
          </a:p>
          <a:p>
            <a:pPr marL="0" indent="0">
              <a:buNone/>
            </a:pPr>
            <a:endParaRPr lang="en-GB" dirty="0"/>
          </a:p>
          <a:p>
            <a:pPr marL="0" indent="0">
              <a:buNone/>
            </a:pPr>
            <a:endParaRPr lang="en-GB" dirty="0"/>
          </a:p>
          <a:p>
            <a:pPr marL="0" indent="0">
              <a:buNone/>
            </a:pPr>
            <a:r>
              <a:rPr lang="en-GB" dirty="0"/>
              <a:t>E3 = (A) + (D)</a:t>
            </a:r>
          </a:p>
          <a:p>
            <a:pPr marL="0" indent="0">
              <a:buNone/>
            </a:pPr>
            <a:r>
              <a:rPr lang="en-GB" dirty="0"/>
              <a:t>E5 = (A) + (B) + (C) + (D)</a:t>
            </a:r>
          </a:p>
        </p:txBody>
      </p:sp>
      <p:sp>
        <p:nvSpPr>
          <p:cNvPr id="14" name="Rectangle 5">
            <a:extLst>
              <a:ext uri="{FF2B5EF4-FFF2-40B4-BE49-F238E27FC236}">
                <a16:creationId xmlns:a16="http://schemas.microsoft.com/office/drawing/2014/main" id="{4D5BE935-39D8-441B-B98B-6E769D946710}"/>
              </a:ext>
            </a:extLst>
          </p:cNvPr>
          <p:cNvSpPr>
            <a:spLocks noChangeArrowheads="1"/>
          </p:cNvSpPr>
          <p:nvPr/>
        </p:nvSpPr>
        <p:spPr bwMode="auto">
          <a:xfrm>
            <a:off x="7835900" y="4024313"/>
            <a:ext cx="2495550" cy="762000"/>
          </a:xfrm>
          <a:prstGeom prst="rect">
            <a:avLst/>
          </a:prstGeom>
          <a:solidFill>
            <a:srgbClr val="FFF2C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 name="Title 1">
            <a:extLst>
              <a:ext uri="{FF2B5EF4-FFF2-40B4-BE49-F238E27FC236}">
                <a16:creationId xmlns:a16="http://schemas.microsoft.com/office/drawing/2014/main" id="{87278260-2039-4A83-9AFE-8E0C0E670C54}"/>
              </a:ext>
            </a:extLst>
          </p:cNvPr>
          <p:cNvSpPr>
            <a:spLocks noGrp="1"/>
          </p:cNvSpPr>
          <p:nvPr>
            <p:ph type="title"/>
          </p:nvPr>
        </p:nvSpPr>
        <p:spPr/>
        <p:txBody>
          <a:bodyPr/>
          <a:lstStyle/>
          <a:p>
            <a:r>
              <a:rPr lang="fr-FR" dirty="0" err="1"/>
              <a:t>Define</a:t>
            </a:r>
            <a:r>
              <a:rPr lang="fr-FR" dirty="0"/>
              <a:t> </a:t>
            </a:r>
            <a:r>
              <a:rPr lang="fr-FR" dirty="0" err="1"/>
              <a:t>Your</a:t>
            </a:r>
            <a:r>
              <a:rPr lang="fr-FR" dirty="0"/>
              <a:t> </a:t>
            </a:r>
            <a:r>
              <a:rPr lang="fr-FR" dirty="0" err="1"/>
              <a:t>Strategy</a:t>
            </a:r>
            <a:endParaRPr lang="en-GB" dirty="0"/>
          </a:p>
        </p:txBody>
      </p:sp>
      <p:sp>
        <p:nvSpPr>
          <p:cNvPr id="13" name="TextBox 12">
            <a:extLst>
              <a:ext uri="{FF2B5EF4-FFF2-40B4-BE49-F238E27FC236}">
                <a16:creationId xmlns:a16="http://schemas.microsoft.com/office/drawing/2014/main" id="{007A49CA-BA7F-4CD5-8880-132884537AA7}"/>
              </a:ext>
            </a:extLst>
          </p:cNvPr>
          <p:cNvSpPr txBox="1"/>
          <p:nvPr/>
        </p:nvSpPr>
        <p:spPr>
          <a:xfrm>
            <a:off x="6837670" y="4200339"/>
            <a:ext cx="687611" cy="369332"/>
          </a:xfrm>
          <a:prstGeom prst="rect">
            <a:avLst/>
          </a:prstGeom>
          <a:noFill/>
        </p:spPr>
        <p:txBody>
          <a:bodyPr wrap="square">
            <a:spAutoFit/>
          </a:bodyPr>
          <a:lstStyle/>
          <a:p>
            <a:r>
              <a:rPr lang="en-GB" dirty="0"/>
              <a:t>(A)</a:t>
            </a:r>
            <a:endParaRPr lang="en-US" dirty="0"/>
          </a:p>
        </p:txBody>
      </p:sp>
      <p:sp>
        <p:nvSpPr>
          <p:cNvPr id="15" name="TextBox 14">
            <a:extLst>
              <a:ext uri="{FF2B5EF4-FFF2-40B4-BE49-F238E27FC236}">
                <a16:creationId xmlns:a16="http://schemas.microsoft.com/office/drawing/2014/main" id="{8DA956D8-19E7-4663-B84A-3730B2270E38}"/>
              </a:ext>
            </a:extLst>
          </p:cNvPr>
          <p:cNvSpPr txBox="1"/>
          <p:nvPr/>
        </p:nvSpPr>
        <p:spPr>
          <a:xfrm>
            <a:off x="6841948" y="5190811"/>
            <a:ext cx="1125147" cy="369332"/>
          </a:xfrm>
          <a:prstGeom prst="rect">
            <a:avLst/>
          </a:prstGeom>
          <a:noFill/>
        </p:spPr>
        <p:txBody>
          <a:bodyPr wrap="square">
            <a:spAutoFit/>
          </a:bodyPr>
          <a:lstStyle/>
          <a:p>
            <a:r>
              <a:rPr lang="en-GB" dirty="0"/>
              <a:t>(B) + (C)</a:t>
            </a:r>
            <a:endParaRPr lang="en-US" dirty="0"/>
          </a:p>
        </p:txBody>
      </p:sp>
      <p:sp>
        <p:nvSpPr>
          <p:cNvPr id="17" name="TextBox 16">
            <a:extLst>
              <a:ext uri="{FF2B5EF4-FFF2-40B4-BE49-F238E27FC236}">
                <a16:creationId xmlns:a16="http://schemas.microsoft.com/office/drawing/2014/main" id="{70411164-5BB4-4FBC-95E4-C64E2EEEE3FB}"/>
              </a:ext>
            </a:extLst>
          </p:cNvPr>
          <p:cNvSpPr txBox="1"/>
          <p:nvPr/>
        </p:nvSpPr>
        <p:spPr>
          <a:xfrm>
            <a:off x="7396154" y="6136854"/>
            <a:ext cx="672863" cy="369332"/>
          </a:xfrm>
          <a:prstGeom prst="rect">
            <a:avLst/>
          </a:prstGeom>
          <a:noFill/>
        </p:spPr>
        <p:txBody>
          <a:bodyPr wrap="square">
            <a:spAutoFit/>
          </a:bodyPr>
          <a:lstStyle/>
          <a:p>
            <a:r>
              <a:rPr lang="en-GB" dirty="0"/>
              <a:t>(D)</a:t>
            </a:r>
            <a:endParaRPr lang="en-US" dirty="0"/>
          </a:p>
        </p:txBody>
      </p:sp>
      <p:sp>
        <p:nvSpPr>
          <p:cNvPr id="22" name="Rectangle 7">
            <a:extLst>
              <a:ext uri="{FF2B5EF4-FFF2-40B4-BE49-F238E27FC236}">
                <a16:creationId xmlns:a16="http://schemas.microsoft.com/office/drawing/2014/main" id="{4BFB729D-E479-4EE9-B399-D8D3C092B861}"/>
              </a:ext>
            </a:extLst>
          </p:cNvPr>
          <p:cNvSpPr>
            <a:spLocks noChangeArrowheads="1"/>
          </p:cNvSpPr>
          <p:nvPr/>
        </p:nvSpPr>
        <p:spPr bwMode="auto">
          <a:xfrm>
            <a:off x="8785225" y="4257676"/>
            <a:ext cx="720725"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Calibri" panose="020F0502020204030204" pitchFamily="34" charset="0"/>
              </a:rPr>
              <a:t>Globa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 name="Rectangle 11">
            <a:extLst>
              <a:ext uri="{FF2B5EF4-FFF2-40B4-BE49-F238E27FC236}">
                <a16:creationId xmlns:a16="http://schemas.microsoft.com/office/drawing/2014/main" id="{672100F6-3D3F-4E27-8676-191DE760A08D}"/>
              </a:ext>
            </a:extLst>
          </p:cNvPr>
          <p:cNvSpPr>
            <a:spLocks noChangeArrowheads="1"/>
          </p:cNvSpPr>
          <p:nvPr/>
        </p:nvSpPr>
        <p:spPr bwMode="auto">
          <a:xfrm>
            <a:off x="7835900" y="5927726"/>
            <a:ext cx="114300" cy="763588"/>
          </a:xfrm>
          <a:prstGeom prst="rect">
            <a:avLst/>
          </a:prstGeom>
          <a:solidFill>
            <a:srgbClr val="FFF2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12">
            <a:extLst>
              <a:ext uri="{FF2B5EF4-FFF2-40B4-BE49-F238E27FC236}">
                <a16:creationId xmlns:a16="http://schemas.microsoft.com/office/drawing/2014/main" id="{819D6BEE-0005-4887-A899-CDA446E3E6AB}"/>
              </a:ext>
            </a:extLst>
          </p:cNvPr>
          <p:cNvSpPr>
            <a:spLocks noChangeArrowheads="1"/>
          </p:cNvSpPr>
          <p:nvPr/>
        </p:nvSpPr>
        <p:spPr bwMode="auto">
          <a:xfrm>
            <a:off x="7835900" y="5927726"/>
            <a:ext cx="114300" cy="763588"/>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Rectangle 16">
            <a:extLst>
              <a:ext uri="{FF2B5EF4-FFF2-40B4-BE49-F238E27FC236}">
                <a16:creationId xmlns:a16="http://schemas.microsoft.com/office/drawing/2014/main" id="{E781DE38-481F-45C5-AA8B-104C5DA4D537}"/>
              </a:ext>
            </a:extLst>
          </p:cNvPr>
          <p:cNvSpPr>
            <a:spLocks noChangeArrowheads="1"/>
          </p:cNvSpPr>
          <p:nvPr/>
        </p:nvSpPr>
        <p:spPr bwMode="auto">
          <a:xfrm>
            <a:off x="8148638" y="5927726"/>
            <a:ext cx="114300" cy="763588"/>
          </a:xfrm>
          <a:prstGeom prst="rect">
            <a:avLst/>
          </a:prstGeom>
          <a:solidFill>
            <a:srgbClr val="FFF2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17">
            <a:extLst>
              <a:ext uri="{FF2B5EF4-FFF2-40B4-BE49-F238E27FC236}">
                <a16:creationId xmlns:a16="http://schemas.microsoft.com/office/drawing/2014/main" id="{DC5FF4B2-94A7-4782-B460-E7C46228E270}"/>
              </a:ext>
            </a:extLst>
          </p:cNvPr>
          <p:cNvSpPr>
            <a:spLocks noChangeArrowheads="1"/>
          </p:cNvSpPr>
          <p:nvPr/>
        </p:nvSpPr>
        <p:spPr bwMode="auto">
          <a:xfrm>
            <a:off x="8148638" y="5927726"/>
            <a:ext cx="114300" cy="763588"/>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Rectangle 18">
            <a:extLst>
              <a:ext uri="{FF2B5EF4-FFF2-40B4-BE49-F238E27FC236}">
                <a16:creationId xmlns:a16="http://schemas.microsoft.com/office/drawing/2014/main" id="{9E69E272-6DA2-4E9E-BD04-223BC6D291CC}"/>
              </a:ext>
            </a:extLst>
          </p:cNvPr>
          <p:cNvSpPr>
            <a:spLocks noChangeArrowheads="1"/>
          </p:cNvSpPr>
          <p:nvPr/>
        </p:nvSpPr>
        <p:spPr bwMode="auto">
          <a:xfrm>
            <a:off x="7991475" y="5927726"/>
            <a:ext cx="114300" cy="763588"/>
          </a:xfrm>
          <a:prstGeom prst="rect">
            <a:avLst/>
          </a:prstGeom>
          <a:solidFill>
            <a:srgbClr val="FFF2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19">
            <a:extLst>
              <a:ext uri="{FF2B5EF4-FFF2-40B4-BE49-F238E27FC236}">
                <a16:creationId xmlns:a16="http://schemas.microsoft.com/office/drawing/2014/main" id="{1EC394D9-8FF1-4294-8D18-43BC1969C2F8}"/>
              </a:ext>
            </a:extLst>
          </p:cNvPr>
          <p:cNvSpPr>
            <a:spLocks noChangeArrowheads="1"/>
          </p:cNvSpPr>
          <p:nvPr/>
        </p:nvSpPr>
        <p:spPr bwMode="auto">
          <a:xfrm>
            <a:off x="7991475" y="5927726"/>
            <a:ext cx="114300" cy="763588"/>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Rectangle 20">
            <a:extLst>
              <a:ext uri="{FF2B5EF4-FFF2-40B4-BE49-F238E27FC236}">
                <a16:creationId xmlns:a16="http://schemas.microsoft.com/office/drawing/2014/main" id="{41EBA57A-E8A6-47D4-BF04-2F98D39D4A42}"/>
              </a:ext>
            </a:extLst>
          </p:cNvPr>
          <p:cNvSpPr>
            <a:spLocks noChangeArrowheads="1"/>
          </p:cNvSpPr>
          <p:nvPr/>
        </p:nvSpPr>
        <p:spPr bwMode="auto">
          <a:xfrm>
            <a:off x="8461375" y="5927726"/>
            <a:ext cx="114300" cy="763588"/>
          </a:xfrm>
          <a:prstGeom prst="rect">
            <a:avLst/>
          </a:prstGeom>
          <a:solidFill>
            <a:srgbClr val="FFF2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21">
            <a:extLst>
              <a:ext uri="{FF2B5EF4-FFF2-40B4-BE49-F238E27FC236}">
                <a16:creationId xmlns:a16="http://schemas.microsoft.com/office/drawing/2014/main" id="{0A57E490-8693-444E-9A68-709FD011AB24}"/>
              </a:ext>
            </a:extLst>
          </p:cNvPr>
          <p:cNvSpPr>
            <a:spLocks noChangeArrowheads="1"/>
          </p:cNvSpPr>
          <p:nvPr/>
        </p:nvSpPr>
        <p:spPr bwMode="auto">
          <a:xfrm>
            <a:off x="8461375" y="5927726"/>
            <a:ext cx="114300" cy="763588"/>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Rectangle 22">
            <a:extLst>
              <a:ext uri="{FF2B5EF4-FFF2-40B4-BE49-F238E27FC236}">
                <a16:creationId xmlns:a16="http://schemas.microsoft.com/office/drawing/2014/main" id="{7F88DD3C-8F75-4211-9585-AE0C752E6CAF}"/>
              </a:ext>
            </a:extLst>
          </p:cNvPr>
          <p:cNvSpPr>
            <a:spLocks noChangeArrowheads="1"/>
          </p:cNvSpPr>
          <p:nvPr/>
        </p:nvSpPr>
        <p:spPr bwMode="auto">
          <a:xfrm>
            <a:off x="8304213" y="5927726"/>
            <a:ext cx="114300" cy="763588"/>
          </a:xfrm>
          <a:prstGeom prst="rect">
            <a:avLst/>
          </a:prstGeom>
          <a:solidFill>
            <a:srgbClr val="FFF2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23">
            <a:extLst>
              <a:ext uri="{FF2B5EF4-FFF2-40B4-BE49-F238E27FC236}">
                <a16:creationId xmlns:a16="http://schemas.microsoft.com/office/drawing/2014/main" id="{8AFE2080-799D-463C-B16E-549362F27DEE}"/>
              </a:ext>
            </a:extLst>
          </p:cNvPr>
          <p:cNvSpPr>
            <a:spLocks noChangeArrowheads="1"/>
          </p:cNvSpPr>
          <p:nvPr/>
        </p:nvSpPr>
        <p:spPr bwMode="auto">
          <a:xfrm>
            <a:off x="8304213" y="5927726"/>
            <a:ext cx="114300" cy="763588"/>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Rectangle 24">
            <a:extLst>
              <a:ext uri="{FF2B5EF4-FFF2-40B4-BE49-F238E27FC236}">
                <a16:creationId xmlns:a16="http://schemas.microsoft.com/office/drawing/2014/main" id="{C41A312A-9BF6-424D-BFF2-E16D3F53446C}"/>
              </a:ext>
            </a:extLst>
          </p:cNvPr>
          <p:cNvSpPr>
            <a:spLocks noChangeArrowheads="1"/>
          </p:cNvSpPr>
          <p:nvPr/>
        </p:nvSpPr>
        <p:spPr bwMode="auto">
          <a:xfrm>
            <a:off x="8774113" y="5927726"/>
            <a:ext cx="114300" cy="763588"/>
          </a:xfrm>
          <a:prstGeom prst="rect">
            <a:avLst/>
          </a:prstGeom>
          <a:solidFill>
            <a:srgbClr val="FFF2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25">
            <a:extLst>
              <a:ext uri="{FF2B5EF4-FFF2-40B4-BE49-F238E27FC236}">
                <a16:creationId xmlns:a16="http://schemas.microsoft.com/office/drawing/2014/main" id="{FE149CB7-802A-486B-BB7D-415F5ACA9195}"/>
              </a:ext>
            </a:extLst>
          </p:cNvPr>
          <p:cNvSpPr>
            <a:spLocks noChangeArrowheads="1"/>
          </p:cNvSpPr>
          <p:nvPr/>
        </p:nvSpPr>
        <p:spPr bwMode="auto">
          <a:xfrm>
            <a:off x="8774113" y="5927726"/>
            <a:ext cx="114300" cy="763588"/>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Rectangle 26">
            <a:extLst>
              <a:ext uri="{FF2B5EF4-FFF2-40B4-BE49-F238E27FC236}">
                <a16:creationId xmlns:a16="http://schemas.microsoft.com/office/drawing/2014/main" id="{D9F6D735-AFEE-4D0C-B291-6C3DFE4E57B4}"/>
              </a:ext>
            </a:extLst>
          </p:cNvPr>
          <p:cNvSpPr>
            <a:spLocks noChangeArrowheads="1"/>
          </p:cNvSpPr>
          <p:nvPr/>
        </p:nvSpPr>
        <p:spPr bwMode="auto">
          <a:xfrm>
            <a:off x="8616950" y="5927726"/>
            <a:ext cx="114300" cy="763588"/>
          </a:xfrm>
          <a:prstGeom prst="rect">
            <a:avLst/>
          </a:prstGeom>
          <a:solidFill>
            <a:srgbClr val="FFF2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27">
            <a:extLst>
              <a:ext uri="{FF2B5EF4-FFF2-40B4-BE49-F238E27FC236}">
                <a16:creationId xmlns:a16="http://schemas.microsoft.com/office/drawing/2014/main" id="{74B8C40F-A4B9-46B8-8F8A-4A0FA0A2DD9F}"/>
              </a:ext>
            </a:extLst>
          </p:cNvPr>
          <p:cNvSpPr>
            <a:spLocks noChangeArrowheads="1"/>
          </p:cNvSpPr>
          <p:nvPr/>
        </p:nvSpPr>
        <p:spPr bwMode="auto">
          <a:xfrm>
            <a:off x="8616950" y="5927726"/>
            <a:ext cx="114300" cy="763588"/>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Rectangle 28">
            <a:extLst>
              <a:ext uri="{FF2B5EF4-FFF2-40B4-BE49-F238E27FC236}">
                <a16:creationId xmlns:a16="http://schemas.microsoft.com/office/drawing/2014/main" id="{351549E3-4D1E-4650-8436-0E86914B3A9E}"/>
              </a:ext>
            </a:extLst>
          </p:cNvPr>
          <p:cNvSpPr>
            <a:spLocks noChangeArrowheads="1"/>
          </p:cNvSpPr>
          <p:nvPr/>
        </p:nvSpPr>
        <p:spPr bwMode="auto">
          <a:xfrm>
            <a:off x="8929688" y="5927726"/>
            <a:ext cx="114300" cy="763588"/>
          </a:xfrm>
          <a:prstGeom prst="rect">
            <a:avLst/>
          </a:prstGeom>
          <a:solidFill>
            <a:srgbClr val="FFF2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29">
            <a:extLst>
              <a:ext uri="{FF2B5EF4-FFF2-40B4-BE49-F238E27FC236}">
                <a16:creationId xmlns:a16="http://schemas.microsoft.com/office/drawing/2014/main" id="{FD194EE4-203B-44F7-A751-CA80FCCF48E3}"/>
              </a:ext>
            </a:extLst>
          </p:cNvPr>
          <p:cNvSpPr>
            <a:spLocks noChangeArrowheads="1"/>
          </p:cNvSpPr>
          <p:nvPr/>
        </p:nvSpPr>
        <p:spPr bwMode="auto">
          <a:xfrm>
            <a:off x="8929688" y="5927726"/>
            <a:ext cx="114300" cy="763588"/>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Rectangle 30">
            <a:extLst>
              <a:ext uri="{FF2B5EF4-FFF2-40B4-BE49-F238E27FC236}">
                <a16:creationId xmlns:a16="http://schemas.microsoft.com/office/drawing/2014/main" id="{7555E9F8-B347-4ACC-863D-F42A93EAB681}"/>
              </a:ext>
            </a:extLst>
          </p:cNvPr>
          <p:cNvSpPr>
            <a:spLocks noChangeArrowheads="1"/>
          </p:cNvSpPr>
          <p:nvPr/>
        </p:nvSpPr>
        <p:spPr bwMode="auto">
          <a:xfrm>
            <a:off x="9086850" y="5927726"/>
            <a:ext cx="114300" cy="763588"/>
          </a:xfrm>
          <a:prstGeom prst="rect">
            <a:avLst/>
          </a:prstGeom>
          <a:solidFill>
            <a:srgbClr val="FFF2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31">
            <a:extLst>
              <a:ext uri="{FF2B5EF4-FFF2-40B4-BE49-F238E27FC236}">
                <a16:creationId xmlns:a16="http://schemas.microsoft.com/office/drawing/2014/main" id="{C6C999B1-D132-4F3C-AAD2-950AE8EDB3E1}"/>
              </a:ext>
            </a:extLst>
          </p:cNvPr>
          <p:cNvSpPr>
            <a:spLocks noChangeArrowheads="1"/>
          </p:cNvSpPr>
          <p:nvPr/>
        </p:nvSpPr>
        <p:spPr bwMode="auto">
          <a:xfrm>
            <a:off x="9086850" y="5927726"/>
            <a:ext cx="114300" cy="763588"/>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Rectangle 32">
            <a:extLst>
              <a:ext uri="{FF2B5EF4-FFF2-40B4-BE49-F238E27FC236}">
                <a16:creationId xmlns:a16="http://schemas.microsoft.com/office/drawing/2014/main" id="{7A15A333-23D9-4DEC-A70A-2E922F48ABE3}"/>
              </a:ext>
            </a:extLst>
          </p:cNvPr>
          <p:cNvSpPr>
            <a:spLocks noChangeArrowheads="1"/>
          </p:cNvSpPr>
          <p:nvPr/>
        </p:nvSpPr>
        <p:spPr bwMode="auto">
          <a:xfrm>
            <a:off x="9242425" y="5927726"/>
            <a:ext cx="114300" cy="763588"/>
          </a:xfrm>
          <a:prstGeom prst="rect">
            <a:avLst/>
          </a:prstGeom>
          <a:solidFill>
            <a:srgbClr val="FFF2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Rectangle 33">
            <a:extLst>
              <a:ext uri="{FF2B5EF4-FFF2-40B4-BE49-F238E27FC236}">
                <a16:creationId xmlns:a16="http://schemas.microsoft.com/office/drawing/2014/main" id="{CC837AB4-C03F-46DD-BABE-29092EB0EC41}"/>
              </a:ext>
            </a:extLst>
          </p:cNvPr>
          <p:cNvSpPr>
            <a:spLocks noChangeArrowheads="1"/>
          </p:cNvSpPr>
          <p:nvPr/>
        </p:nvSpPr>
        <p:spPr bwMode="auto">
          <a:xfrm>
            <a:off x="9242425" y="5927726"/>
            <a:ext cx="114300" cy="763588"/>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Rectangle 34">
            <a:extLst>
              <a:ext uri="{FF2B5EF4-FFF2-40B4-BE49-F238E27FC236}">
                <a16:creationId xmlns:a16="http://schemas.microsoft.com/office/drawing/2014/main" id="{345FDCC2-9166-4E7C-A2EF-F246276DAAEA}"/>
              </a:ext>
            </a:extLst>
          </p:cNvPr>
          <p:cNvSpPr>
            <a:spLocks noChangeArrowheads="1"/>
          </p:cNvSpPr>
          <p:nvPr/>
        </p:nvSpPr>
        <p:spPr bwMode="auto">
          <a:xfrm>
            <a:off x="9399588" y="5927726"/>
            <a:ext cx="114300" cy="763588"/>
          </a:xfrm>
          <a:prstGeom prst="rect">
            <a:avLst/>
          </a:prstGeom>
          <a:solidFill>
            <a:srgbClr val="FFF2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35">
            <a:extLst>
              <a:ext uri="{FF2B5EF4-FFF2-40B4-BE49-F238E27FC236}">
                <a16:creationId xmlns:a16="http://schemas.microsoft.com/office/drawing/2014/main" id="{6E9C4B35-4F9F-4958-A484-643ABFF730F1}"/>
              </a:ext>
            </a:extLst>
          </p:cNvPr>
          <p:cNvSpPr>
            <a:spLocks noChangeArrowheads="1"/>
          </p:cNvSpPr>
          <p:nvPr/>
        </p:nvSpPr>
        <p:spPr bwMode="auto">
          <a:xfrm>
            <a:off x="9399588" y="5927726"/>
            <a:ext cx="114300" cy="763588"/>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Rectangle 36">
            <a:extLst>
              <a:ext uri="{FF2B5EF4-FFF2-40B4-BE49-F238E27FC236}">
                <a16:creationId xmlns:a16="http://schemas.microsoft.com/office/drawing/2014/main" id="{BA5BC012-244C-4E6D-8B17-0E8489E3350A}"/>
              </a:ext>
            </a:extLst>
          </p:cNvPr>
          <p:cNvSpPr>
            <a:spLocks noChangeArrowheads="1"/>
          </p:cNvSpPr>
          <p:nvPr/>
        </p:nvSpPr>
        <p:spPr bwMode="auto">
          <a:xfrm>
            <a:off x="9555163" y="5927726"/>
            <a:ext cx="114300" cy="763588"/>
          </a:xfrm>
          <a:prstGeom prst="rect">
            <a:avLst/>
          </a:prstGeom>
          <a:solidFill>
            <a:srgbClr val="FFF2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37">
            <a:extLst>
              <a:ext uri="{FF2B5EF4-FFF2-40B4-BE49-F238E27FC236}">
                <a16:creationId xmlns:a16="http://schemas.microsoft.com/office/drawing/2014/main" id="{878E347F-3E33-4503-BD9A-A11EBC06AC34}"/>
              </a:ext>
            </a:extLst>
          </p:cNvPr>
          <p:cNvSpPr>
            <a:spLocks noChangeArrowheads="1"/>
          </p:cNvSpPr>
          <p:nvPr/>
        </p:nvSpPr>
        <p:spPr bwMode="auto">
          <a:xfrm>
            <a:off x="9555163" y="5927726"/>
            <a:ext cx="114300" cy="763588"/>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Rectangle 38">
            <a:extLst>
              <a:ext uri="{FF2B5EF4-FFF2-40B4-BE49-F238E27FC236}">
                <a16:creationId xmlns:a16="http://schemas.microsoft.com/office/drawing/2014/main" id="{77EEA7C6-246E-40E5-BF8D-DD81FD50CBED}"/>
              </a:ext>
            </a:extLst>
          </p:cNvPr>
          <p:cNvSpPr>
            <a:spLocks noChangeArrowheads="1"/>
          </p:cNvSpPr>
          <p:nvPr/>
        </p:nvSpPr>
        <p:spPr bwMode="auto">
          <a:xfrm>
            <a:off x="9712325" y="5927726"/>
            <a:ext cx="114300" cy="763588"/>
          </a:xfrm>
          <a:prstGeom prst="rect">
            <a:avLst/>
          </a:prstGeom>
          <a:solidFill>
            <a:srgbClr val="FFF2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39">
            <a:extLst>
              <a:ext uri="{FF2B5EF4-FFF2-40B4-BE49-F238E27FC236}">
                <a16:creationId xmlns:a16="http://schemas.microsoft.com/office/drawing/2014/main" id="{338CA1E9-1FAF-4417-9D99-DC449E893492}"/>
              </a:ext>
            </a:extLst>
          </p:cNvPr>
          <p:cNvSpPr>
            <a:spLocks noChangeArrowheads="1"/>
          </p:cNvSpPr>
          <p:nvPr/>
        </p:nvSpPr>
        <p:spPr bwMode="auto">
          <a:xfrm>
            <a:off x="9712325" y="5927726"/>
            <a:ext cx="114300" cy="763588"/>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Rectangle 40">
            <a:extLst>
              <a:ext uri="{FF2B5EF4-FFF2-40B4-BE49-F238E27FC236}">
                <a16:creationId xmlns:a16="http://schemas.microsoft.com/office/drawing/2014/main" id="{B283E021-37DA-43FC-AD7D-42D1E201D331}"/>
              </a:ext>
            </a:extLst>
          </p:cNvPr>
          <p:cNvSpPr>
            <a:spLocks noChangeArrowheads="1"/>
          </p:cNvSpPr>
          <p:nvPr/>
        </p:nvSpPr>
        <p:spPr bwMode="auto">
          <a:xfrm>
            <a:off x="9867900" y="5927726"/>
            <a:ext cx="114300" cy="763588"/>
          </a:xfrm>
          <a:prstGeom prst="rect">
            <a:avLst/>
          </a:prstGeom>
          <a:solidFill>
            <a:srgbClr val="FFF2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41">
            <a:extLst>
              <a:ext uri="{FF2B5EF4-FFF2-40B4-BE49-F238E27FC236}">
                <a16:creationId xmlns:a16="http://schemas.microsoft.com/office/drawing/2014/main" id="{54880E51-BF6E-401D-A2D8-53E4ABD6F5AF}"/>
              </a:ext>
            </a:extLst>
          </p:cNvPr>
          <p:cNvSpPr>
            <a:spLocks noChangeArrowheads="1"/>
          </p:cNvSpPr>
          <p:nvPr/>
        </p:nvSpPr>
        <p:spPr bwMode="auto">
          <a:xfrm>
            <a:off x="9867900" y="5927726"/>
            <a:ext cx="114300" cy="763588"/>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Rectangle 42">
            <a:extLst>
              <a:ext uri="{FF2B5EF4-FFF2-40B4-BE49-F238E27FC236}">
                <a16:creationId xmlns:a16="http://schemas.microsoft.com/office/drawing/2014/main" id="{9B0720F9-3C4D-4017-BD58-8E83B53905ED}"/>
              </a:ext>
            </a:extLst>
          </p:cNvPr>
          <p:cNvSpPr>
            <a:spLocks noChangeArrowheads="1"/>
          </p:cNvSpPr>
          <p:nvPr/>
        </p:nvSpPr>
        <p:spPr bwMode="auto">
          <a:xfrm>
            <a:off x="10025063" y="5927726"/>
            <a:ext cx="114300" cy="763588"/>
          </a:xfrm>
          <a:prstGeom prst="rect">
            <a:avLst/>
          </a:prstGeom>
          <a:solidFill>
            <a:srgbClr val="FFF2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43">
            <a:extLst>
              <a:ext uri="{FF2B5EF4-FFF2-40B4-BE49-F238E27FC236}">
                <a16:creationId xmlns:a16="http://schemas.microsoft.com/office/drawing/2014/main" id="{B04999B3-9D33-47EB-8EA4-525B30140891}"/>
              </a:ext>
            </a:extLst>
          </p:cNvPr>
          <p:cNvSpPr>
            <a:spLocks noChangeArrowheads="1"/>
          </p:cNvSpPr>
          <p:nvPr/>
        </p:nvSpPr>
        <p:spPr bwMode="auto">
          <a:xfrm>
            <a:off x="10025063" y="5927726"/>
            <a:ext cx="114300" cy="763588"/>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Rectangle 44">
            <a:extLst>
              <a:ext uri="{FF2B5EF4-FFF2-40B4-BE49-F238E27FC236}">
                <a16:creationId xmlns:a16="http://schemas.microsoft.com/office/drawing/2014/main" id="{E28FB5E0-112C-4BF2-9282-575B34D03DB0}"/>
              </a:ext>
            </a:extLst>
          </p:cNvPr>
          <p:cNvSpPr>
            <a:spLocks noChangeArrowheads="1"/>
          </p:cNvSpPr>
          <p:nvPr/>
        </p:nvSpPr>
        <p:spPr bwMode="auto">
          <a:xfrm>
            <a:off x="10209213" y="5927726"/>
            <a:ext cx="114300" cy="763588"/>
          </a:xfrm>
          <a:prstGeom prst="rect">
            <a:avLst/>
          </a:prstGeom>
          <a:solidFill>
            <a:srgbClr val="FFF2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45">
            <a:extLst>
              <a:ext uri="{FF2B5EF4-FFF2-40B4-BE49-F238E27FC236}">
                <a16:creationId xmlns:a16="http://schemas.microsoft.com/office/drawing/2014/main" id="{E86098A3-AB03-469C-9399-8348FE674E28}"/>
              </a:ext>
            </a:extLst>
          </p:cNvPr>
          <p:cNvSpPr>
            <a:spLocks noChangeArrowheads="1"/>
          </p:cNvSpPr>
          <p:nvPr/>
        </p:nvSpPr>
        <p:spPr bwMode="auto">
          <a:xfrm>
            <a:off x="10209213" y="5927726"/>
            <a:ext cx="114300" cy="763588"/>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Rectangle 46">
            <a:extLst>
              <a:ext uri="{FF2B5EF4-FFF2-40B4-BE49-F238E27FC236}">
                <a16:creationId xmlns:a16="http://schemas.microsoft.com/office/drawing/2014/main" id="{5618FF3B-66E8-4DD1-8D50-8FE38D8E832B}"/>
              </a:ext>
            </a:extLst>
          </p:cNvPr>
          <p:cNvSpPr>
            <a:spLocks noChangeArrowheads="1"/>
          </p:cNvSpPr>
          <p:nvPr/>
        </p:nvSpPr>
        <p:spPr bwMode="auto">
          <a:xfrm>
            <a:off x="8731250" y="6161088"/>
            <a:ext cx="830263"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Calibri" panose="020F0502020204030204" pitchFamily="34" charset="0"/>
              </a:rPr>
              <a:t>Specific</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2" name="Rectangle 47">
            <a:extLst>
              <a:ext uri="{FF2B5EF4-FFF2-40B4-BE49-F238E27FC236}">
                <a16:creationId xmlns:a16="http://schemas.microsoft.com/office/drawing/2014/main" id="{0B5FDD30-B274-4747-A143-BB2275E1D814}"/>
              </a:ext>
            </a:extLst>
          </p:cNvPr>
          <p:cNvSpPr>
            <a:spLocks noChangeArrowheads="1"/>
          </p:cNvSpPr>
          <p:nvPr/>
        </p:nvSpPr>
        <p:spPr bwMode="auto">
          <a:xfrm>
            <a:off x="5953124" y="5553535"/>
            <a:ext cx="725488"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Interviews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3" name="Rectangle 48">
            <a:extLst>
              <a:ext uri="{FF2B5EF4-FFF2-40B4-BE49-F238E27FC236}">
                <a16:creationId xmlns:a16="http://schemas.microsoft.com/office/drawing/2014/main" id="{4A3DD000-5639-4096-99C0-09F18B7FA5AD}"/>
              </a:ext>
            </a:extLst>
          </p:cNvPr>
          <p:cNvSpPr>
            <a:spLocks noChangeArrowheads="1"/>
          </p:cNvSpPr>
          <p:nvPr/>
        </p:nvSpPr>
        <p:spPr bwMode="auto">
          <a:xfrm>
            <a:off x="5853112" y="5705935"/>
            <a:ext cx="909638"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amp; Workshop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4" name="Freeform 49">
            <a:extLst>
              <a:ext uri="{FF2B5EF4-FFF2-40B4-BE49-F238E27FC236}">
                <a16:creationId xmlns:a16="http://schemas.microsoft.com/office/drawing/2014/main" id="{5CE89AF7-B82A-430E-A0C1-8C607ADC1F6C}"/>
              </a:ext>
            </a:extLst>
          </p:cNvPr>
          <p:cNvSpPr>
            <a:spLocks noEditPoints="1"/>
          </p:cNvSpPr>
          <p:nvPr/>
        </p:nvSpPr>
        <p:spPr bwMode="auto">
          <a:xfrm>
            <a:off x="7258050" y="5842001"/>
            <a:ext cx="3852863" cy="9525"/>
          </a:xfrm>
          <a:custGeom>
            <a:avLst/>
            <a:gdLst>
              <a:gd name="T0" fmla="*/ 240 w 12928"/>
              <a:gd name="T1" fmla="*/ 32 h 32"/>
              <a:gd name="T2" fmla="*/ 400 w 12928"/>
              <a:gd name="T3" fmla="*/ 0 h 32"/>
              <a:gd name="T4" fmla="*/ 400 w 12928"/>
              <a:gd name="T5" fmla="*/ 32 h 32"/>
              <a:gd name="T6" fmla="*/ 1008 w 12928"/>
              <a:gd name="T7" fmla="*/ 0 h 32"/>
              <a:gd name="T8" fmla="*/ 768 w 12928"/>
              <a:gd name="T9" fmla="*/ 16 h 32"/>
              <a:gd name="T10" fmla="*/ 1408 w 12928"/>
              <a:gd name="T11" fmla="*/ 16 h 32"/>
              <a:gd name="T12" fmla="*/ 1168 w 12928"/>
              <a:gd name="T13" fmla="*/ 0 h 32"/>
              <a:gd name="T14" fmla="*/ 1776 w 12928"/>
              <a:gd name="T15" fmla="*/ 32 h 32"/>
              <a:gd name="T16" fmla="*/ 1936 w 12928"/>
              <a:gd name="T17" fmla="*/ 0 h 32"/>
              <a:gd name="T18" fmla="*/ 1936 w 12928"/>
              <a:gd name="T19" fmla="*/ 32 h 32"/>
              <a:gd name="T20" fmla="*/ 2544 w 12928"/>
              <a:gd name="T21" fmla="*/ 0 h 32"/>
              <a:gd name="T22" fmla="*/ 2304 w 12928"/>
              <a:gd name="T23" fmla="*/ 16 h 32"/>
              <a:gd name="T24" fmla="*/ 2944 w 12928"/>
              <a:gd name="T25" fmla="*/ 16 h 32"/>
              <a:gd name="T26" fmla="*/ 2704 w 12928"/>
              <a:gd name="T27" fmla="*/ 0 h 32"/>
              <a:gd name="T28" fmla="*/ 3312 w 12928"/>
              <a:gd name="T29" fmla="*/ 32 h 32"/>
              <a:gd name="T30" fmla="*/ 3472 w 12928"/>
              <a:gd name="T31" fmla="*/ 0 h 32"/>
              <a:gd name="T32" fmla="*/ 3472 w 12928"/>
              <a:gd name="T33" fmla="*/ 32 h 32"/>
              <a:gd name="T34" fmla="*/ 4080 w 12928"/>
              <a:gd name="T35" fmla="*/ 0 h 32"/>
              <a:gd name="T36" fmla="*/ 3840 w 12928"/>
              <a:gd name="T37" fmla="*/ 16 h 32"/>
              <a:gd name="T38" fmla="*/ 4480 w 12928"/>
              <a:gd name="T39" fmla="*/ 16 h 32"/>
              <a:gd name="T40" fmla="*/ 4240 w 12928"/>
              <a:gd name="T41" fmla="*/ 0 h 32"/>
              <a:gd name="T42" fmla="*/ 4848 w 12928"/>
              <a:gd name="T43" fmla="*/ 32 h 32"/>
              <a:gd name="T44" fmla="*/ 5008 w 12928"/>
              <a:gd name="T45" fmla="*/ 0 h 32"/>
              <a:gd name="T46" fmla="*/ 5008 w 12928"/>
              <a:gd name="T47" fmla="*/ 32 h 32"/>
              <a:gd name="T48" fmla="*/ 5616 w 12928"/>
              <a:gd name="T49" fmla="*/ 0 h 32"/>
              <a:gd name="T50" fmla="*/ 5376 w 12928"/>
              <a:gd name="T51" fmla="*/ 16 h 32"/>
              <a:gd name="T52" fmla="*/ 6016 w 12928"/>
              <a:gd name="T53" fmla="*/ 16 h 32"/>
              <a:gd name="T54" fmla="*/ 5776 w 12928"/>
              <a:gd name="T55" fmla="*/ 0 h 32"/>
              <a:gd name="T56" fmla="*/ 6384 w 12928"/>
              <a:gd name="T57" fmla="*/ 32 h 32"/>
              <a:gd name="T58" fmla="*/ 6544 w 12928"/>
              <a:gd name="T59" fmla="*/ 0 h 32"/>
              <a:gd name="T60" fmla="*/ 6544 w 12928"/>
              <a:gd name="T61" fmla="*/ 32 h 32"/>
              <a:gd name="T62" fmla="*/ 7152 w 12928"/>
              <a:gd name="T63" fmla="*/ 0 h 32"/>
              <a:gd name="T64" fmla="*/ 6912 w 12928"/>
              <a:gd name="T65" fmla="*/ 16 h 32"/>
              <a:gd name="T66" fmla="*/ 7552 w 12928"/>
              <a:gd name="T67" fmla="*/ 16 h 32"/>
              <a:gd name="T68" fmla="*/ 7312 w 12928"/>
              <a:gd name="T69" fmla="*/ 0 h 32"/>
              <a:gd name="T70" fmla="*/ 7920 w 12928"/>
              <a:gd name="T71" fmla="*/ 32 h 32"/>
              <a:gd name="T72" fmla="*/ 8080 w 12928"/>
              <a:gd name="T73" fmla="*/ 0 h 32"/>
              <a:gd name="T74" fmla="*/ 8080 w 12928"/>
              <a:gd name="T75" fmla="*/ 32 h 32"/>
              <a:gd name="T76" fmla="*/ 8688 w 12928"/>
              <a:gd name="T77" fmla="*/ 0 h 32"/>
              <a:gd name="T78" fmla="*/ 8448 w 12928"/>
              <a:gd name="T79" fmla="*/ 16 h 32"/>
              <a:gd name="T80" fmla="*/ 9088 w 12928"/>
              <a:gd name="T81" fmla="*/ 16 h 32"/>
              <a:gd name="T82" fmla="*/ 8848 w 12928"/>
              <a:gd name="T83" fmla="*/ 0 h 32"/>
              <a:gd name="T84" fmla="*/ 9456 w 12928"/>
              <a:gd name="T85" fmla="*/ 32 h 32"/>
              <a:gd name="T86" fmla="*/ 9616 w 12928"/>
              <a:gd name="T87" fmla="*/ 0 h 32"/>
              <a:gd name="T88" fmla="*/ 9616 w 12928"/>
              <a:gd name="T89" fmla="*/ 32 h 32"/>
              <a:gd name="T90" fmla="*/ 10224 w 12928"/>
              <a:gd name="T91" fmla="*/ 0 h 32"/>
              <a:gd name="T92" fmla="*/ 9984 w 12928"/>
              <a:gd name="T93" fmla="*/ 16 h 32"/>
              <a:gd name="T94" fmla="*/ 10624 w 12928"/>
              <a:gd name="T95" fmla="*/ 16 h 32"/>
              <a:gd name="T96" fmla="*/ 10384 w 12928"/>
              <a:gd name="T97" fmla="*/ 0 h 32"/>
              <a:gd name="T98" fmla="*/ 10992 w 12928"/>
              <a:gd name="T99" fmla="*/ 32 h 32"/>
              <a:gd name="T100" fmla="*/ 11152 w 12928"/>
              <a:gd name="T101" fmla="*/ 0 h 32"/>
              <a:gd name="T102" fmla="*/ 11152 w 12928"/>
              <a:gd name="T103" fmla="*/ 32 h 32"/>
              <a:gd name="T104" fmla="*/ 11760 w 12928"/>
              <a:gd name="T105" fmla="*/ 0 h 32"/>
              <a:gd name="T106" fmla="*/ 11520 w 12928"/>
              <a:gd name="T107" fmla="*/ 16 h 32"/>
              <a:gd name="T108" fmla="*/ 12160 w 12928"/>
              <a:gd name="T109" fmla="*/ 16 h 32"/>
              <a:gd name="T110" fmla="*/ 11920 w 12928"/>
              <a:gd name="T111" fmla="*/ 0 h 32"/>
              <a:gd name="T112" fmla="*/ 12528 w 12928"/>
              <a:gd name="T113" fmla="*/ 32 h 32"/>
              <a:gd name="T114" fmla="*/ 12688 w 12928"/>
              <a:gd name="T115" fmla="*/ 0 h 32"/>
              <a:gd name="T116" fmla="*/ 12688 w 12928"/>
              <a:gd name="T1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928" h="32">
                <a:moveTo>
                  <a:pt x="16" y="0"/>
                </a:moveTo>
                <a:lnTo>
                  <a:pt x="240" y="0"/>
                </a:lnTo>
                <a:cubicBezTo>
                  <a:pt x="248" y="0"/>
                  <a:pt x="256" y="7"/>
                  <a:pt x="256" y="16"/>
                </a:cubicBezTo>
                <a:cubicBezTo>
                  <a:pt x="256" y="25"/>
                  <a:pt x="248" y="32"/>
                  <a:pt x="240" y="32"/>
                </a:cubicBezTo>
                <a:lnTo>
                  <a:pt x="16" y="32"/>
                </a:lnTo>
                <a:cubicBezTo>
                  <a:pt x="7" y="32"/>
                  <a:pt x="0" y="25"/>
                  <a:pt x="0" y="16"/>
                </a:cubicBezTo>
                <a:cubicBezTo>
                  <a:pt x="0" y="7"/>
                  <a:pt x="7" y="0"/>
                  <a:pt x="16" y="0"/>
                </a:cubicBezTo>
                <a:close/>
                <a:moveTo>
                  <a:pt x="400" y="0"/>
                </a:moveTo>
                <a:lnTo>
                  <a:pt x="624" y="0"/>
                </a:lnTo>
                <a:cubicBezTo>
                  <a:pt x="632" y="0"/>
                  <a:pt x="640" y="7"/>
                  <a:pt x="640" y="16"/>
                </a:cubicBezTo>
                <a:cubicBezTo>
                  <a:pt x="640" y="25"/>
                  <a:pt x="632" y="32"/>
                  <a:pt x="624" y="32"/>
                </a:cubicBezTo>
                <a:lnTo>
                  <a:pt x="400" y="32"/>
                </a:lnTo>
                <a:cubicBezTo>
                  <a:pt x="391" y="32"/>
                  <a:pt x="384" y="25"/>
                  <a:pt x="384" y="16"/>
                </a:cubicBezTo>
                <a:cubicBezTo>
                  <a:pt x="384" y="7"/>
                  <a:pt x="391" y="0"/>
                  <a:pt x="400" y="0"/>
                </a:cubicBezTo>
                <a:close/>
                <a:moveTo>
                  <a:pt x="784" y="0"/>
                </a:moveTo>
                <a:lnTo>
                  <a:pt x="1008" y="0"/>
                </a:lnTo>
                <a:cubicBezTo>
                  <a:pt x="1016" y="0"/>
                  <a:pt x="1024" y="7"/>
                  <a:pt x="1024" y="16"/>
                </a:cubicBezTo>
                <a:cubicBezTo>
                  <a:pt x="1024" y="25"/>
                  <a:pt x="1016" y="32"/>
                  <a:pt x="1008" y="32"/>
                </a:cubicBezTo>
                <a:lnTo>
                  <a:pt x="784" y="32"/>
                </a:lnTo>
                <a:cubicBezTo>
                  <a:pt x="775" y="32"/>
                  <a:pt x="768" y="25"/>
                  <a:pt x="768" y="16"/>
                </a:cubicBezTo>
                <a:cubicBezTo>
                  <a:pt x="768" y="7"/>
                  <a:pt x="775" y="0"/>
                  <a:pt x="784" y="0"/>
                </a:cubicBezTo>
                <a:close/>
                <a:moveTo>
                  <a:pt x="1168" y="0"/>
                </a:moveTo>
                <a:lnTo>
                  <a:pt x="1392" y="0"/>
                </a:lnTo>
                <a:cubicBezTo>
                  <a:pt x="1400" y="0"/>
                  <a:pt x="1408" y="7"/>
                  <a:pt x="1408" y="16"/>
                </a:cubicBezTo>
                <a:cubicBezTo>
                  <a:pt x="1408" y="25"/>
                  <a:pt x="1400" y="32"/>
                  <a:pt x="1392" y="32"/>
                </a:cubicBezTo>
                <a:lnTo>
                  <a:pt x="1168" y="32"/>
                </a:lnTo>
                <a:cubicBezTo>
                  <a:pt x="1159" y="32"/>
                  <a:pt x="1152" y="25"/>
                  <a:pt x="1152" y="16"/>
                </a:cubicBezTo>
                <a:cubicBezTo>
                  <a:pt x="1152" y="7"/>
                  <a:pt x="1159" y="0"/>
                  <a:pt x="1168" y="0"/>
                </a:cubicBezTo>
                <a:close/>
                <a:moveTo>
                  <a:pt x="1552" y="0"/>
                </a:moveTo>
                <a:lnTo>
                  <a:pt x="1776" y="0"/>
                </a:lnTo>
                <a:cubicBezTo>
                  <a:pt x="1784" y="0"/>
                  <a:pt x="1792" y="7"/>
                  <a:pt x="1792" y="16"/>
                </a:cubicBezTo>
                <a:cubicBezTo>
                  <a:pt x="1792" y="25"/>
                  <a:pt x="1784" y="32"/>
                  <a:pt x="1776" y="32"/>
                </a:cubicBezTo>
                <a:lnTo>
                  <a:pt x="1552" y="32"/>
                </a:lnTo>
                <a:cubicBezTo>
                  <a:pt x="1543" y="32"/>
                  <a:pt x="1536" y="25"/>
                  <a:pt x="1536" y="16"/>
                </a:cubicBezTo>
                <a:cubicBezTo>
                  <a:pt x="1536" y="7"/>
                  <a:pt x="1543" y="0"/>
                  <a:pt x="1552" y="0"/>
                </a:cubicBezTo>
                <a:close/>
                <a:moveTo>
                  <a:pt x="1936" y="0"/>
                </a:moveTo>
                <a:lnTo>
                  <a:pt x="2160" y="0"/>
                </a:lnTo>
                <a:cubicBezTo>
                  <a:pt x="2168" y="0"/>
                  <a:pt x="2176" y="7"/>
                  <a:pt x="2176" y="16"/>
                </a:cubicBezTo>
                <a:cubicBezTo>
                  <a:pt x="2176" y="25"/>
                  <a:pt x="2168" y="32"/>
                  <a:pt x="2160" y="32"/>
                </a:cubicBezTo>
                <a:lnTo>
                  <a:pt x="1936" y="32"/>
                </a:lnTo>
                <a:cubicBezTo>
                  <a:pt x="1927" y="32"/>
                  <a:pt x="1920" y="25"/>
                  <a:pt x="1920" y="16"/>
                </a:cubicBezTo>
                <a:cubicBezTo>
                  <a:pt x="1920" y="7"/>
                  <a:pt x="1927" y="0"/>
                  <a:pt x="1936" y="0"/>
                </a:cubicBezTo>
                <a:close/>
                <a:moveTo>
                  <a:pt x="2320" y="0"/>
                </a:moveTo>
                <a:lnTo>
                  <a:pt x="2544" y="0"/>
                </a:lnTo>
                <a:cubicBezTo>
                  <a:pt x="2552" y="0"/>
                  <a:pt x="2560" y="7"/>
                  <a:pt x="2560" y="16"/>
                </a:cubicBezTo>
                <a:cubicBezTo>
                  <a:pt x="2560" y="25"/>
                  <a:pt x="2552" y="32"/>
                  <a:pt x="2544" y="32"/>
                </a:cubicBezTo>
                <a:lnTo>
                  <a:pt x="2320" y="32"/>
                </a:lnTo>
                <a:cubicBezTo>
                  <a:pt x="2311" y="32"/>
                  <a:pt x="2304" y="25"/>
                  <a:pt x="2304" y="16"/>
                </a:cubicBezTo>
                <a:cubicBezTo>
                  <a:pt x="2304" y="7"/>
                  <a:pt x="2311" y="0"/>
                  <a:pt x="2320" y="0"/>
                </a:cubicBezTo>
                <a:close/>
                <a:moveTo>
                  <a:pt x="2704" y="0"/>
                </a:moveTo>
                <a:lnTo>
                  <a:pt x="2928" y="0"/>
                </a:lnTo>
                <a:cubicBezTo>
                  <a:pt x="2936" y="0"/>
                  <a:pt x="2944" y="7"/>
                  <a:pt x="2944" y="16"/>
                </a:cubicBezTo>
                <a:cubicBezTo>
                  <a:pt x="2944" y="25"/>
                  <a:pt x="2936" y="32"/>
                  <a:pt x="2928" y="32"/>
                </a:cubicBezTo>
                <a:lnTo>
                  <a:pt x="2704" y="32"/>
                </a:lnTo>
                <a:cubicBezTo>
                  <a:pt x="2695" y="32"/>
                  <a:pt x="2688" y="25"/>
                  <a:pt x="2688" y="16"/>
                </a:cubicBezTo>
                <a:cubicBezTo>
                  <a:pt x="2688" y="7"/>
                  <a:pt x="2695" y="0"/>
                  <a:pt x="2704" y="0"/>
                </a:cubicBezTo>
                <a:close/>
                <a:moveTo>
                  <a:pt x="3088" y="0"/>
                </a:moveTo>
                <a:lnTo>
                  <a:pt x="3312" y="0"/>
                </a:lnTo>
                <a:cubicBezTo>
                  <a:pt x="3320" y="0"/>
                  <a:pt x="3328" y="7"/>
                  <a:pt x="3328" y="16"/>
                </a:cubicBezTo>
                <a:cubicBezTo>
                  <a:pt x="3328" y="25"/>
                  <a:pt x="3320" y="32"/>
                  <a:pt x="3312" y="32"/>
                </a:cubicBezTo>
                <a:lnTo>
                  <a:pt x="3088" y="32"/>
                </a:lnTo>
                <a:cubicBezTo>
                  <a:pt x="3079" y="32"/>
                  <a:pt x="3072" y="25"/>
                  <a:pt x="3072" y="16"/>
                </a:cubicBezTo>
                <a:cubicBezTo>
                  <a:pt x="3072" y="7"/>
                  <a:pt x="3079" y="0"/>
                  <a:pt x="3088" y="0"/>
                </a:cubicBezTo>
                <a:close/>
                <a:moveTo>
                  <a:pt x="3472" y="0"/>
                </a:moveTo>
                <a:lnTo>
                  <a:pt x="3696" y="0"/>
                </a:lnTo>
                <a:cubicBezTo>
                  <a:pt x="3704" y="0"/>
                  <a:pt x="3712" y="7"/>
                  <a:pt x="3712" y="16"/>
                </a:cubicBezTo>
                <a:cubicBezTo>
                  <a:pt x="3712" y="25"/>
                  <a:pt x="3704" y="32"/>
                  <a:pt x="3696" y="32"/>
                </a:cubicBezTo>
                <a:lnTo>
                  <a:pt x="3472" y="32"/>
                </a:lnTo>
                <a:cubicBezTo>
                  <a:pt x="3463" y="32"/>
                  <a:pt x="3456" y="25"/>
                  <a:pt x="3456" y="16"/>
                </a:cubicBezTo>
                <a:cubicBezTo>
                  <a:pt x="3456" y="7"/>
                  <a:pt x="3463" y="0"/>
                  <a:pt x="3472" y="0"/>
                </a:cubicBezTo>
                <a:close/>
                <a:moveTo>
                  <a:pt x="3856" y="0"/>
                </a:moveTo>
                <a:lnTo>
                  <a:pt x="4080" y="0"/>
                </a:lnTo>
                <a:cubicBezTo>
                  <a:pt x="4088" y="0"/>
                  <a:pt x="4096" y="7"/>
                  <a:pt x="4096" y="16"/>
                </a:cubicBezTo>
                <a:cubicBezTo>
                  <a:pt x="4096" y="25"/>
                  <a:pt x="4088" y="32"/>
                  <a:pt x="4080" y="32"/>
                </a:cubicBezTo>
                <a:lnTo>
                  <a:pt x="3856" y="32"/>
                </a:lnTo>
                <a:cubicBezTo>
                  <a:pt x="3847" y="32"/>
                  <a:pt x="3840" y="25"/>
                  <a:pt x="3840" y="16"/>
                </a:cubicBezTo>
                <a:cubicBezTo>
                  <a:pt x="3840" y="7"/>
                  <a:pt x="3847" y="0"/>
                  <a:pt x="3856" y="0"/>
                </a:cubicBezTo>
                <a:close/>
                <a:moveTo>
                  <a:pt x="4240" y="0"/>
                </a:moveTo>
                <a:lnTo>
                  <a:pt x="4464" y="0"/>
                </a:lnTo>
                <a:cubicBezTo>
                  <a:pt x="4472" y="0"/>
                  <a:pt x="4480" y="7"/>
                  <a:pt x="4480" y="16"/>
                </a:cubicBezTo>
                <a:cubicBezTo>
                  <a:pt x="4480" y="25"/>
                  <a:pt x="4472" y="32"/>
                  <a:pt x="4464" y="32"/>
                </a:cubicBezTo>
                <a:lnTo>
                  <a:pt x="4240" y="32"/>
                </a:lnTo>
                <a:cubicBezTo>
                  <a:pt x="4231" y="32"/>
                  <a:pt x="4224" y="25"/>
                  <a:pt x="4224" y="16"/>
                </a:cubicBezTo>
                <a:cubicBezTo>
                  <a:pt x="4224" y="7"/>
                  <a:pt x="4231" y="0"/>
                  <a:pt x="4240" y="0"/>
                </a:cubicBezTo>
                <a:close/>
                <a:moveTo>
                  <a:pt x="4624" y="0"/>
                </a:moveTo>
                <a:lnTo>
                  <a:pt x="4848" y="0"/>
                </a:lnTo>
                <a:cubicBezTo>
                  <a:pt x="4856" y="0"/>
                  <a:pt x="4864" y="7"/>
                  <a:pt x="4864" y="16"/>
                </a:cubicBezTo>
                <a:cubicBezTo>
                  <a:pt x="4864" y="25"/>
                  <a:pt x="4856" y="32"/>
                  <a:pt x="4848" y="32"/>
                </a:cubicBezTo>
                <a:lnTo>
                  <a:pt x="4624" y="32"/>
                </a:lnTo>
                <a:cubicBezTo>
                  <a:pt x="4615" y="32"/>
                  <a:pt x="4608" y="25"/>
                  <a:pt x="4608" y="16"/>
                </a:cubicBezTo>
                <a:cubicBezTo>
                  <a:pt x="4608" y="7"/>
                  <a:pt x="4615" y="0"/>
                  <a:pt x="4624" y="0"/>
                </a:cubicBezTo>
                <a:close/>
                <a:moveTo>
                  <a:pt x="5008" y="0"/>
                </a:moveTo>
                <a:lnTo>
                  <a:pt x="5232" y="0"/>
                </a:lnTo>
                <a:cubicBezTo>
                  <a:pt x="5240" y="0"/>
                  <a:pt x="5248" y="7"/>
                  <a:pt x="5248" y="16"/>
                </a:cubicBezTo>
                <a:cubicBezTo>
                  <a:pt x="5248" y="25"/>
                  <a:pt x="5240" y="32"/>
                  <a:pt x="5232" y="32"/>
                </a:cubicBezTo>
                <a:lnTo>
                  <a:pt x="5008" y="32"/>
                </a:lnTo>
                <a:cubicBezTo>
                  <a:pt x="4999" y="32"/>
                  <a:pt x="4992" y="25"/>
                  <a:pt x="4992" y="16"/>
                </a:cubicBezTo>
                <a:cubicBezTo>
                  <a:pt x="4992" y="7"/>
                  <a:pt x="4999" y="0"/>
                  <a:pt x="5008" y="0"/>
                </a:cubicBezTo>
                <a:close/>
                <a:moveTo>
                  <a:pt x="5392" y="0"/>
                </a:moveTo>
                <a:lnTo>
                  <a:pt x="5616" y="0"/>
                </a:lnTo>
                <a:cubicBezTo>
                  <a:pt x="5624" y="0"/>
                  <a:pt x="5632" y="7"/>
                  <a:pt x="5632" y="16"/>
                </a:cubicBezTo>
                <a:cubicBezTo>
                  <a:pt x="5632" y="25"/>
                  <a:pt x="5624" y="32"/>
                  <a:pt x="5616" y="32"/>
                </a:cubicBezTo>
                <a:lnTo>
                  <a:pt x="5392" y="32"/>
                </a:lnTo>
                <a:cubicBezTo>
                  <a:pt x="5383" y="32"/>
                  <a:pt x="5376" y="25"/>
                  <a:pt x="5376" y="16"/>
                </a:cubicBezTo>
                <a:cubicBezTo>
                  <a:pt x="5376" y="7"/>
                  <a:pt x="5383" y="0"/>
                  <a:pt x="5392" y="0"/>
                </a:cubicBezTo>
                <a:close/>
                <a:moveTo>
                  <a:pt x="5776" y="0"/>
                </a:moveTo>
                <a:lnTo>
                  <a:pt x="6000" y="0"/>
                </a:lnTo>
                <a:cubicBezTo>
                  <a:pt x="6008" y="0"/>
                  <a:pt x="6016" y="7"/>
                  <a:pt x="6016" y="16"/>
                </a:cubicBezTo>
                <a:cubicBezTo>
                  <a:pt x="6016" y="25"/>
                  <a:pt x="6008" y="32"/>
                  <a:pt x="6000" y="32"/>
                </a:cubicBezTo>
                <a:lnTo>
                  <a:pt x="5776" y="32"/>
                </a:lnTo>
                <a:cubicBezTo>
                  <a:pt x="5767" y="32"/>
                  <a:pt x="5760" y="25"/>
                  <a:pt x="5760" y="16"/>
                </a:cubicBezTo>
                <a:cubicBezTo>
                  <a:pt x="5760" y="7"/>
                  <a:pt x="5767" y="0"/>
                  <a:pt x="5776" y="0"/>
                </a:cubicBezTo>
                <a:close/>
                <a:moveTo>
                  <a:pt x="6160" y="0"/>
                </a:moveTo>
                <a:lnTo>
                  <a:pt x="6384" y="0"/>
                </a:lnTo>
                <a:cubicBezTo>
                  <a:pt x="6392" y="0"/>
                  <a:pt x="6400" y="7"/>
                  <a:pt x="6400" y="16"/>
                </a:cubicBezTo>
                <a:cubicBezTo>
                  <a:pt x="6400" y="25"/>
                  <a:pt x="6392" y="32"/>
                  <a:pt x="6384" y="32"/>
                </a:cubicBezTo>
                <a:lnTo>
                  <a:pt x="6160" y="32"/>
                </a:lnTo>
                <a:cubicBezTo>
                  <a:pt x="6151" y="32"/>
                  <a:pt x="6144" y="25"/>
                  <a:pt x="6144" y="16"/>
                </a:cubicBezTo>
                <a:cubicBezTo>
                  <a:pt x="6144" y="7"/>
                  <a:pt x="6151" y="0"/>
                  <a:pt x="6160" y="0"/>
                </a:cubicBezTo>
                <a:close/>
                <a:moveTo>
                  <a:pt x="6544" y="0"/>
                </a:moveTo>
                <a:lnTo>
                  <a:pt x="6768" y="0"/>
                </a:lnTo>
                <a:cubicBezTo>
                  <a:pt x="6776" y="0"/>
                  <a:pt x="6784" y="7"/>
                  <a:pt x="6784" y="16"/>
                </a:cubicBezTo>
                <a:cubicBezTo>
                  <a:pt x="6784" y="25"/>
                  <a:pt x="6776" y="32"/>
                  <a:pt x="6768" y="32"/>
                </a:cubicBezTo>
                <a:lnTo>
                  <a:pt x="6544" y="32"/>
                </a:lnTo>
                <a:cubicBezTo>
                  <a:pt x="6535" y="32"/>
                  <a:pt x="6528" y="25"/>
                  <a:pt x="6528" y="16"/>
                </a:cubicBezTo>
                <a:cubicBezTo>
                  <a:pt x="6528" y="7"/>
                  <a:pt x="6535" y="0"/>
                  <a:pt x="6544" y="0"/>
                </a:cubicBezTo>
                <a:close/>
                <a:moveTo>
                  <a:pt x="6928" y="0"/>
                </a:moveTo>
                <a:lnTo>
                  <a:pt x="7152" y="0"/>
                </a:lnTo>
                <a:cubicBezTo>
                  <a:pt x="7160" y="0"/>
                  <a:pt x="7168" y="7"/>
                  <a:pt x="7168" y="16"/>
                </a:cubicBezTo>
                <a:cubicBezTo>
                  <a:pt x="7168" y="25"/>
                  <a:pt x="7160" y="32"/>
                  <a:pt x="7152" y="32"/>
                </a:cubicBezTo>
                <a:lnTo>
                  <a:pt x="6928" y="32"/>
                </a:lnTo>
                <a:cubicBezTo>
                  <a:pt x="6919" y="32"/>
                  <a:pt x="6912" y="25"/>
                  <a:pt x="6912" y="16"/>
                </a:cubicBezTo>
                <a:cubicBezTo>
                  <a:pt x="6912" y="7"/>
                  <a:pt x="6919" y="0"/>
                  <a:pt x="6928" y="0"/>
                </a:cubicBezTo>
                <a:close/>
                <a:moveTo>
                  <a:pt x="7312" y="0"/>
                </a:moveTo>
                <a:lnTo>
                  <a:pt x="7536" y="0"/>
                </a:lnTo>
                <a:cubicBezTo>
                  <a:pt x="7544" y="0"/>
                  <a:pt x="7552" y="7"/>
                  <a:pt x="7552" y="16"/>
                </a:cubicBezTo>
                <a:cubicBezTo>
                  <a:pt x="7552" y="25"/>
                  <a:pt x="7544" y="32"/>
                  <a:pt x="7536" y="32"/>
                </a:cubicBezTo>
                <a:lnTo>
                  <a:pt x="7312" y="32"/>
                </a:lnTo>
                <a:cubicBezTo>
                  <a:pt x="7303" y="32"/>
                  <a:pt x="7296" y="25"/>
                  <a:pt x="7296" y="16"/>
                </a:cubicBezTo>
                <a:cubicBezTo>
                  <a:pt x="7296" y="7"/>
                  <a:pt x="7303" y="0"/>
                  <a:pt x="7312" y="0"/>
                </a:cubicBezTo>
                <a:close/>
                <a:moveTo>
                  <a:pt x="7696" y="0"/>
                </a:moveTo>
                <a:lnTo>
                  <a:pt x="7920" y="0"/>
                </a:lnTo>
                <a:cubicBezTo>
                  <a:pt x="7928" y="0"/>
                  <a:pt x="7936" y="7"/>
                  <a:pt x="7936" y="16"/>
                </a:cubicBezTo>
                <a:cubicBezTo>
                  <a:pt x="7936" y="25"/>
                  <a:pt x="7928" y="32"/>
                  <a:pt x="7920" y="32"/>
                </a:cubicBezTo>
                <a:lnTo>
                  <a:pt x="7696" y="32"/>
                </a:lnTo>
                <a:cubicBezTo>
                  <a:pt x="7687" y="32"/>
                  <a:pt x="7680" y="25"/>
                  <a:pt x="7680" y="16"/>
                </a:cubicBezTo>
                <a:cubicBezTo>
                  <a:pt x="7680" y="7"/>
                  <a:pt x="7687" y="0"/>
                  <a:pt x="7696" y="0"/>
                </a:cubicBezTo>
                <a:close/>
                <a:moveTo>
                  <a:pt x="8080" y="0"/>
                </a:moveTo>
                <a:lnTo>
                  <a:pt x="8304" y="0"/>
                </a:lnTo>
                <a:cubicBezTo>
                  <a:pt x="8312" y="0"/>
                  <a:pt x="8320" y="7"/>
                  <a:pt x="8320" y="16"/>
                </a:cubicBezTo>
                <a:cubicBezTo>
                  <a:pt x="8320" y="25"/>
                  <a:pt x="8312" y="32"/>
                  <a:pt x="8304" y="32"/>
                </a:cubicBezTo>
                <a:lnTo>
                  <a:pt x="8080" y="32"/>
                </a:lnTo>
                <a:cubicBezTo>
                  <a:pt x="8071" y="32"/>
                  <a:pt x="8064" y="25"/>
                  <a:pt x="8064" y="16"/>
                </a:cubicBezTo>
                <a:cubicBezTo>
                  <a:pt x="8064" y="7"/>
                  <a:pt x="8071" y="0"/>
                  <a:pt x="8080" y="0"/>
                </a:cubicBezTo>
                <a:close/>
                <a:moveTo>
                  <a:pt x="8464" y="0"/>
                </a:moveTo>
                <a:lnTo>
                  <a:pt x="8688" y="0"/>
                </a:lnTo>
                <a:cubicBezTo>
                  <a:pt x="8696" y="0"/>
                  <a:pt x="8704" y="7"/>
                  <a:pt x="8704" y="16"/>
                </a:cubicBezTo>
                <a:cubicBezTo>
                  <a:pt x="8704" y="25"/>
                  <a:pt x="8696" y="32"/>
                  <a:pt x="8688" y="32"/>
                </a:cubicBezTo>
                <a:lnTo>
                  <a:pt x="8464" y="32"/>
                </a:lnTo>
                <a:cubicBezTo>
                  <a:pt x="8455" y="32"/>
                  <a:pt x="8448" y="25"/>
                  <a:pt x="8448" y="16"/>
                </a:cubicBezTo>
                <a:cubicBezTo>
                  <a:pt x="8448" y="7"/>
                  <a:pt x="8455" y="0"/>
                  <a:pt x="8464" y="0"/>
                </a:cubicBezTo>
                <a:close/>
                <a:moveTo>
                  <a:pt x="8848" y="0"/>
                </a:moveTo>
                <a:lnTo>
                  <a:pt x="9072" y="0"/>
                </a:lnTo>
                <a:cubicBezTo>
                  <a:pt x="9080" y="0"/>
                  <a:pt x="9088" y="7"/>
                  <a:pt x="9088" y="16"/>
                </a:cubicBezTo>
                <a:cubicBezTo>
                  <a:pt x="9088" y="25"/>
                  <a:pt x="9080" y="32"/>
                  <a:pt x="9072" y="32"/>
                </a:cubicBezTo>
                <a:lnTo>
                  <a:pt x="8848" y="32"/>
                </a:lnTo>
                <a:cubicBezTo>
                  <a:pt x="8839" y="32"/>
                  <a:pt x="8832" y="25"/>
                  <a:pt x="8832" y="16"/>
                </a:cubicBezTo>
                <a:cubicBezTo>
                  <a:pt x="8832" y="7"/>
                  <a:pt x="8839" y="0"/>
                  <a:pt x="8848" y="0"/>
                </a:cubicBezTo>
                <a:close/>
                <a:moveTo>
                  <a:pt x="9232" y="0"/>
                </a:moveTo>
                <a:lnTo>
                  <a:pt x="9456" y="0"/>
                </a:lnTo>
                <a:cubicBezTo>
                  <a:pt x="9464" y="0"/>
                  <a:pt x="9472" y="7"/>
                  <a:pt x="9472" y="16"/>
                </a:cubicBezTo>
                <a:cubicBezTo>
                  <a:pt x="9472" y="25"/>
                  <a:pt x="9464" y="32"/>
                  <a:pt x="9456" y="32"/>
                </a:cubicBezTo>
                <a:lnTo>
                  <a:pt x="9232" y="32"/>
                </a:lnTo>
                <a:cubicBezTo>
                  <a:pt x="9223" y="32"/>
                  <a:pt x="9216" y="25"/>
                  <a:pt x="9216" y="16"/>
                </a:cubicBezTo>
                <a:cubicBezTo>
                  <a:pt x="9216" y="7"/>
                  <a:pt x="9223" y="0"/>
                  <a:pt x="9232" y="0"/>
                </a:cubicBezTo>
                <a:close/>
                <a:moveTo>
                  <a:pt x="9616" y="0"/>
                </a:moveTo>
                <a:lnTo>
                  <a:pt x="9840" y="0"/>
                </a:lnTo>
                <a:cubicBezTo>
                  <a:pt x="9848" y="0"/>
                  <a:pt x="9856" y="7"/>
                  <a:pt x="9856" y="16"/>
                </a:cubicBezTo>
                <a:cubicBezTo>
                  <a:pt x="9856" y="25"/>
                  <a:pt x="9848" y="32"/>
                  <a:pt x="9840" y="32"/>
                </a:cubicBezTo>
                <a:lnTo>
                  <a:pt x="9616" y="32"/>
                </a:lnTo>
                <a:cubicBezTo>
                  <a:pt x="9607" y="32"/>
                  <a:pt x="9600" y="25"/>
                  <a:pt x="9600" y="16"/>
                </a:cubicBezTo>
                <a:cubicBezTo>
                  <a:pt x="9600" y="7"/>
                  <a:pt x="9607" y="0"/>
                  <a:pt x="9616" y="0"/>
                </a:cubicBezTo>
                <a:close/>
                <a:moveTo>
                  <a:pt x="10000" y="0"/>
                </a:moveTo>
                <a:lnTo>
                  <a:pt x="10224" y="0"/>
                </a:lnTo>
                <a:cubicBezTo>
                  <a:pt x="10232" y="0"/>
                  <a:pt x="10240" y="7"/>
                  <a:pt x="10240" y="16"/>
                </a:cubicBezTo>
                <a:cubicBezTo>
                  <a:pt x="10240" y="25"/>
                  <a:pt x="10232" y="32"/>
                  <a:pt x="10224" y="32"/>
                </a:cubicBezTo>
                <a:lnTo>
                  <a:pt x="10000" y="32"/>
                </a:lnTo>
                <a:cubicBezTo>
                  <a:pt x="9991" y="32"/>
                  <a:pt x="9984" y="25"/>
                  <a:pt x="9984" y="16"/>
                </a:cubicBezTo>
                <a:cubicBezTo>
                  <a:pt x="9984" y="7"/>
                  <a:pt x="9991" y="0"/>
                  <a:pt x="10000" y="0"/>
                </a:cubicBezTo>
                <a:close/>
                <a:moveTo>
                  <a:pt x="10384" y="0"/>
                </a:moveTo>
                <a:lnTo>
                  <a:pt x="10608" y="0"/>
                </a:lnTo>
                <a:cubicBezTo>
                  <a:pt x="10616" y="0"/>
                  <a:pt x="10624" y="7"/>
                  <a:pt x="10624" y="16"/>
                </a:cubicBezTo>
                <a:cubicBezTo>
                  <a:pt x="10624" y="25"/>
                  <a:pt x="10616" y="32"/>
                  <a:pt x="10608" y="32"/>
                </a:cubicBezTo>
                <a:lnTo>
                  <a:pt x="10384" y="32"/>
                </a:lnTo>
                <a:cubicBezTo>
                  <a:pt x="10375" y="32"/>
                  <a:pt x="10368" y="25"/>
                  <a:pt x="10368" y="16"/>
                </a:cubicBezTo>
                <a:cubicBezTo>
                  <a:pt x="10368" y="7"/>
                  <a:pt x="10375" y="0"/>
                  <a:pt x="10384" y="0"/>
                </a:cubicBezTo>
                <a:close/>
                <a:moveTo>
                  <a:pt x="10768" y="0"/>
                </a:moveTo>
                <a:lnTo>
                  <a:pt x="10992" y="0"/>
                </a:lnTo>
                <a:cubicBezTo>
                  <a:pt x="11000" y="0"/>
                  <a:pt x="11008" y="7"/>
                  <a:pt x="11008" y="16"/>
                </a:cubicBezTo>
                <a:cubicBezTo>
                  <a:pt x="11008" y="25"/>
                  <a:pt x="11000" y="32"/>
                  <a:pt x="10992" y="32"/>
                </a:cubicBezTo>
                <a:lnTo>
                  <a:pt x="10768" y="32"/>
                </a:lnTo>
                <a:cubicBezTo>
                  <a:pt x="10759" y="32"/>
                  <a:pt x="10752" y="25"/>
                  <a:pt x="10752" y="16"/>
                </a:cubicBezTo>
                <a:cubicBezTo>
                  <a:pt x="10752" y="7"/>
                  <a:pt x="10759" y="0"/>
                  <a:pt x="10768" y="0"/>
                </a:cubicBezTo>
                <a:close/>
                <a:moveTo>
                  <a:pt x="11152" y="0"/>
                </a:moveTo>
                <a:lnTo>
                  <a:pt x="11376" y="0"/>
                </a:lnTo>
                <a:cubicBezTo>
                  <a:pt x="11384" y="0"/>
                  <a:pt x="11392" y="7"/>
                  <a:pt x="11392" y="16"/>
                </a:cubicBezTo>
                <a:cubicBezTo>
                  <a:pt x="11392" y="25"/>
                  <a:pt x="11384" y="32"/>
                  <a:pt x="11376" y="32"/>
                </a:cubicBezTo>
                <a:lnTo>
                  <a:pt x="11152" y="32"/>
                </a:lnTo>
                <a:cubicBezTo>
                  <a:pt x="11143" y="32"/>
                  <a:pt x="11136" y="25"/>
                  <a:pt x="11136" y="16"/>
                </a:cubicBezTo>
                <a:cubicBezTo>
                  <a:pt x="11136" y="7"/>
                  <a:pt x="11143" y="0"/>
                  <a:pt x="11152" y="0"/>
                </a:cubicBezTo>
                <a:close/>
                <a:moveTo>
                  <a:pt x="11536" y="0"/>
                </a:moveTo>
                <a:lnTo>
                  <a:pt x="11760" y="0"/>
                </a:lnTo>
                <a:cubicBezTo>
                  <a:pt x="11768" y="0"/>
                  <a:pt x="11776" y="7"/>
                  <a:pt x="11776" y="16"/>
                </a:cubicBezTo>
                <a:cubicBezTo>
                  <a:pt x="11776" y="25"/>
                  <a:pt x="11768" y="32"/>
                  <a:pt x="11760" y="32"/>
                </a:cubicBezTo>
                <a:lnTo>
                  <a:pt x="11536" y="32"/>
                </a:lnTo>
                <a:cubicBezTo>
                  <a:pt x="11527" y="32"/>
                  <a:pt x="11520" y="25"/>
                  <a:pt x="11520" y="16"/>
                </a:cubicBezTo>
                <a:cubicBezTo>
                  <a:pt x="11520" y="7"/>
                  <a:pt x="11527" y="0"/>
                  <a:pt x="11536" y="0"/>
                </a:cubicBezTo>
                <a:close/>
                <a:moveTo>
                  <a:pt x="11920" y="0"/>
                </a:moveTo>
                <a:lnTo>
                  <a:pt x="12144" y="0"/>
                </a:lnTo>
                <a:cubicBezTo>
                  <a:pt x="12152" y="0"/>
                  <a:pt x="12160" y="7"/>
                  <a:pt x="12160" y="16"/>
                </a:cubicBezTo>
                <a:cubicBezTo>
                  <a:pt x="12160" y="25"/>
                  <a:pt x="12152" y="32"/>
                  <a:pt x="12144" y="32"/>
                </a:cubicBezTo>
                <a:lnTo>
                  <a:pt x="11920" y="32"/>
                </a:lnTo>
                <a:cubicBezTo>
                  <a:pt x="11911" y="32"/>
                  <a:pt x="11904" y="25"/>
                  <a:pt x="11904" y="16"/>
                </a:cubicBezTo>
                <a:cubicBezTo>
                  <a:pt x="11904" y="7"/>
                  <a:pt x="11911" y="0"/>
                  <a:pt x="11920" y="0"/>
                </a:cubicBezTo>
                <a:close/>
                <a:moveTo>
                  <a:pt x="12304" y="0"/>
                </a:moveTo>
                <a:lnTo>
                  <a:pt x="12528" y="0"/>
                </a:lnTo>
                <a:cubicBezTo>
                  <a:pt x="12536" y="0"/>
                  <a:pt x="12544" y="7"/>
                  <a:pt x="12544" y="16"/>
                </a:cubicBezTo>
                <a:cubicBezTo>
                  <a:pt x="12544" y="25"/>
                  <a:pt x="12536" y="32"/>
                  <a:pt x="12528" y="32"/>
                </a:cubicBezTo>
                <a:lnTo>
                  <a:pt x="12304" y="32"/>
                </a:lnTo>
                <a:cubicBezTo>
                  <a:pt x="12295" y="32"/>
                  <a:pt x="12288" y="25"/>
                  <a:pt x="12288" y="16"/>
                </a:cubicBezTo>
                <a:cubicBezTo>
                  <a:pt x="12288" y="7"/>
                  <a:pt x="12295" y="0"/>
                  <a:pt x="12304" y="0"/>
                </a:cubicBezTo>
                <a:close/>
                <a:moveTo>
                  <a:pt x="12688" y="0"/>
                </a:moveTo>
                <a:lnTo>
                  <a:pt x="12912" y="0"/>
                </a:lnTo>
                <a:cubicBezTo>
                  <a:pt x="12920" y="0"/>
                  <a:pt x="12928" y="7"/>
                  <a:pt x="12928" y="16"/>
                </a:cubicBezTo>
                <a:cubicBezTo>
                  <a:pt x="12928" y="25"/>
                  <a:pt x="12920" y="32"/>
                  <a:pt x="12912" y="32"/>
                </a:cubicBezTo>
                <a:lnTo>
                  <a:pt x="12688" y="32"/>
                </a:lnTo>
                <a:cubicBezTo>
                  <a:pt x="12679" y="32"/>
                  <a:pt x="12672" y="25"/>
                  <a:pt x="12672" y="16"/>
                </a:cubicBezTo>
                <a:cubicBezTo>
                  <a:pt x="12672" y="7"/>
                  <a:pt x="12679" y="0"/>
                  <a:pt x="12688"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Rectangle 50">
            <a:extLst>
              <a:ext uri="{FF2B5EF4-FFF2-40B4-BE49-F238E27FC236}">
                <a16:creationId xmlns:a16="http://schemas.microsoft.com/office/drawing/2014/main" id="{64DC1362-BD22-4168-842C-F9B036DD2230}"/>
              </a:ext>
            </a:extLst>
          </p:cNvPr>
          <p:cNvSpPr>
            <a:spLocks noChangeArrowheads="1"/>
          </p:cNvSpPr>
          <p:nvPr/>
        </p:nvSpPr>
        <p:spPr bwMode="auto">
          <a:xfrm>
            <a:off x="10980738" y="5948363"/>
            <a:ext cx="528638"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Manua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6" name="Rectangle 51">
            <a:extLst>
              <a:ext uri="{FF2B5EF4-FFF2-40B4-BE49-F238E27FC236}">
                <a16:creationId xmlns:a16="http://schemas.microsoft.com/office/drawing/2014/main" id="{0537FEE6-73A4-48E7-98BA-AFF42ACB6514}"/>
              </a:ext>
            </a:extLst>
          </p:cNvPr>
          <p:cNvSpPr>
            <a:spLocks noChangeArrowheads="1"/>
          </p:cNvSpPr>
          <p:nvPr/>
        </p:nvSpPr>
        <p:spPr bwMode="auto">
          <a:xfrm>
            <a:off x="10955338" y="5453063"/>
            <a:ext cx="700088"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Automatic</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3124" name="Picture 52">
            <a:extLst>
              <a:ext uri="{FF2B5EF4-FFF2-40B4-BE49-F238E27FC236}">
                <a16:creationId xmlns:a16="http://schemas.microsoft.com/office/drawing/2014/main" id="{763E96C1-CC6B-49EE-AF75-13F9FAF2804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32499" y="5304298"/>
            <a:ext cx="1524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25" name="Picture 53">
            <a:extLst>
              <a:ext uri="{FF2B5EF4-FFF2-40B4-BE49-F238E27FC236}">
                <a16:creationId xmlns:a16="http://schemas.microsoft.com/office/drawing/2014/main" id="{4AB9EA9D-29BC-4A6E-8C7D-7DCACA0D81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32499" y="5304298"/>
            <a:ext cx="1524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Freeform 54">
            <a:extLst>
              <a:ext uri="{FF2B5EF4-FFF2-40B4-BE49-F238E27FC236}">
                <a16:creationId xmlns:a16="http://schemas.microsoft.com/office/drawing/2014/main" id="{6079FE4D-3CD8-4F9F-809A-B440667634DA}"/>
              </a:ext>
            </a:extLst>
          </p:cNvPr>
          <p:cNvSpPr>
            <a:spLocks/>
          </p:cNvSpPr>
          <p:nvPr/>
        </p:nvSpPr>
        <p:spPr bwMode="auto">
          <a:xfrm>
            <a:off x="6035674" y="5307473"/>
            <a:ext cx="147638" cy="152400"/>
          </a:xfrm>
          <a:custGeom>
            <a:avLst/>
            <a:gdLst>
              <a:gd name="T0" fmla="*/ 276 w 496"/>
              <a:gd name="T1" fmla="*/ 418 h 510"/>
              <a:gd name="T2" fmla="*/ 406 w 496"/>
              <a:gd name="T3" fmla="*/ 420 h 510"/>
              <a:gd name="T4" fmla="*/ 434 w 496"/>
              <a:gd name="T5" fmla="*/ 409 h 510"/>
              <a:gd name="T6" fmla="*/ 446 w 496"/>
              <a:gd name="T7" fmla="*/ 304 h 510"/>
              <a:gd name="T8" fmla="*/ 496 w 496"/>
              <a:gd name="T9" fmla="*/ 280 h 510"/>
              <a:gd name="T10" fmla="*/ 432 w 496"/>
              <a:gd name="T11" fmla="*/ 205 h 510"/>
              <a:gd name="T12" fmla="*/ 465 w 496"/>
              <a:gd name="T13" fmla="*/ 179 h 510"/>
              <a:gd name="T14" fmla="*/ 456 w 496"/>
              <a:gd name="T15" fmla="*/ 119 h 510"/>
              <a:gd name="T16" fmla="*/ 128 w 496"/>
              <a:gd name="T17" fmla="*/ 71 h 510"/>
              <a:gd name="T18" fmla="*/ 76 w 496"/>
              <a:gd name="T19" fmla="*/ 375 h 510"/>
              <a:gd name="T20" fmla="*/ 130 w 496"/>
              <a:gd name="T21" fmla="*/ 424 h 510"/>
              <a:gd name="T22" fmla="*/ 134 w 496"/>
              <a:gd name="T23" fmla="*/ 510 h 510"/>
              <a:gd name="T24" fmla="*/ 352 w 496"/>
              <a:gd name="T25" fmla="*/ 510 h 510"/>
              <a:gd name="T26" fmla="*/ 352 w 496"/>
              <a:gd name="T27" fmla="*/ 422 h 510"/>
              <a:gd name="T28" fmla="*/ 276 w 496"/>
              <a:gd name="T29" fmla="*/ 418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6" h="510">
                <a:moveTo>
                  <a:pt x="276" y="418"/>
                </a:moveTo>
                <a:lnTo>
                  <a:pt x="406" y="420"/>
                </a:lnTo>
                <a:lnTo>
                  <a:pt x="434" y="409"/>
                </a:lnTo>
                <a:lnTo>
                  <a:pt x="446" y="304"/>
                </a:lnTo>
                <a:cubicBezTo>
                  <a:pt x="463" y="296"/>
                  <a:pt x="479" y="288"/>
                  <a:pt x="496" y="280"/>
                </a:cubicBezTo>
                <a:lnTo>
                  <a:pt x="432" y="205"/>
                </a:lnTo>
                <a:cubicBezTo>
                  <a:pt x="438" y="192"/>
                  <a:pt x="450" y="183"/>
                  <a:pt x="465" y="179"/>
                </a:cubicBezTo>
                <a:lnTo>
                  <a:pt x="456" y="119"/>
                </a:lnTo>
                <a:cubicBezTo>
                  <a:pt x="380" y="22"/>
                  <a:pt x="233" y="0"/>
                  <a:pt x="128" y="71"/>
                </a:cubicBezTo>
                <a:cubicBezTo>
                  <a:pt x="23" y="141"/>
                  <a:pt x="0" y="278"/>
                  <a:pt x="76" y="375"/>
                </a:cubicBezTo>
                <a:cubicBezTo>
                  <a:pt x="91" y="394"/>
                  <a:pt x="109" y="411"/>
                  <a:pt x="130" y="424"/>
                </a:cubicBezTo>
                <a:lnTo>
                  <a:pt x="134" y="510"/>
                </a:lnTo>
                <a:lnTo>
                  <a:pt x="352" y="510"/>
                </a:lnTo>
                <a:lnTo>
                  <a:pt x="352" y="422"/>
                </a:lnTo>
                <a:lnTo>
                  <a:pt x="276" y="418"/>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Freeform 55">
            <a:extLst>
              <a:ext uri="{FF2B5EF4-FFF2-40B4-BE49-F238E27FC236}">
                <a16:creationId xmlns:a16="http://schemas.microsoft.com/office/drawing/2014/main" id="{427A963B-D094-488B-9F5E-E79A2261B5D4}"/>
              </a:ext>
            </a:extLst>
          </p:cNvPr>
          <p:cNvSpPr>
            <a:spLocks/>
          </p:cNvSpPr>
          <p:nvPr/>
        </p:nvSpPr>
        <p:spPr bwMode="auto">
          <a:xfrm>
            <a:off x="6030912" y="5294773"/>
            <a:ext cx="146050" cy="139700"/>
          </a:xfrm>
          <a:custGeom>
            <a:avLst/>
            <a:gdLst>
              <a:gd name="T0" fmla="*/ 369 w 491"/>
              <a:gd name="T1" fmla="*/ 147 h 469"/>
              <a:gd name="T2" fmla="*/ 482 w 491"/>
              <a:gd name="T3" fmla="*/ 143 h 469"/>
              <a:gd name="T4" fmla="*/ 491 w 491"/>
              <a:gd name="T5" fmla="*/ 114 h 469"/>
              <a:gd name="T6" fmla="*/ 374 w 491"/>
              <a:gd name="T7" fmla="*/ 11 h 469"/>
              <a:gd name="T8" fmla="*/ 270 w 491"/>
              <a:gd name="T9" fmla="*/ 1 h 469"/>
              <a:gd name="T10" fmla="*/ 177 w 491"/>
              <a:gd name="T11" fmla="*/ 13 h 469"/>
              <a:gd name="T12" fmla="*/ 108 w 491"/>
              <a:gd name="T13" fmla="*/ 53 h 469"/>
              <a:gd name="T14" fmla="*/ 33 w 491"/>
              <a:gd name="T15" fmla="*/ 116 h 469"/>
              <a:gd name="T16" fmla="*/ 6 w 491"/>
              <a:gd name="T17" fmla="*/ 273 h 469"/>
              <a:gd name="T18" fmla="*/ 45 w 491"/>
              <a:gd name="T19" fmla="*/ 419 h 469"/>
              <a:gd name="T20" fmla="*/ 149 w 491"/>
              <a:gd name="T21" fmla="*/ 468 h 469"/>
              <a:gd name="T22" fmla="*/ 193 w 491"/>
              <a:gd name="T23" fmla="*/ 432 h 469"/>
              <a:gd name="T24" fmla="*/ 189 w 491"/>
              <a:gd name="T25" fmla="*/ 413 h 469"/>
              <a:gd name="T26" fmla="*/ 150 w 491"/>
              <a:gd name="T27" fmla="*/ 371 h 469"/>
              <a:gd name="T28" fmla="*/ 130 w 491"/>
              <a:gd name="T29" fmla="*/ 310 h 469"/>
              <a:gd name="T30" fmla="*/ 147 w 491"/>
              <a:gd name="T31" fmla="*/ 244 h 469"/>
              <a:gd name="T32" fmla="*/ 253 w 491"/>
              <a:gd name="T33" fmla="*/ 205 h 469"/>
              <a:gd name="T34" fmla="*/ 369 w 491"/>
              <a:gd name="T35" fmla="*/ 14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1" h="469">
                <a:moveTo>
                  <a:pt x="369" y="147"/>
                </a:moveTo>
                <a:cubicBezTo>
                  <a:pt x="406" y="160"/>
                  <a:pt x="447" y="159"/>
                  <a:pt x="482" y="143"/>
                </a:cubicBezTo>
                <a:cubicBezTo>
                  <a:pt x="486" y="134"/>
                  <a:pt x="489" y="124"/>
                  <a:pt x="491" y="114"/>
                </a:cubicBezTo>
                <a:cubicBezTo>
                  <a:pt x="465" y="69"/>
                  <a:pt x="424" y="33"/>
                  <a:pt x="374" y="11"/>
                </a:cubicBezTo>
                <a:cubicBezTo>
                  <a:pt x="340" y="3"/>
                  <a:pt x="305" y="0"/>
                  <a:pt x="270" y="1"/>
                </a:cubicBezTo>
                <a:cubicBezTo>
                  <a:pt x="238" y="0"/>
                  <a:pt x="207" y="4"/>
                  <a:pt x="177" y="13"/>
                </a:cubicBezTo>
                <a:cubicBezTo>
                  <a:pt x="153" y="26"/>
                  <a:pt x="130" y="39"/>
                  <a:pt x="108" y="53"/>
                </a:cubicBezTo>
                <a:cubicBezTo>
                  <a:pt x="78" y="68"/>
                  <a:pt x="52" y="90"/>
                  <a:pt x="33" y="116"/>
                </a:cubicBezTo>
                <a:cubicBezTo>
                  <a:pt x="13" y="166"/>
                  <a:pt x="3" y="219"/>
                  <a:pt x="6" y="273"/>
                </a:cubicBezTo>
                <a:cubicBezTo>
                  <a:pt x="0" y="324"/>
                  <a:pt x="14" y="376"/>
                  <a:pt x="45" y="419"/>
                </a:cubicBezTo>
                <a:cubicBezTo>
                  <a:pt x="75" y="444"/>
                  <a:pt x="111" y="460"/>
                  <a:pt x="149" y="468"/>
                </a:cubicBezTo>
                <a:cubicBezTo>
                  <a:pt x="172" y="469"/>
                  <a:pt x="192" y="453"/>
                  <a:pt x="193" y="432"/>
                </a:cubicBezTo>
                <a:cubicBezTo>
                  <a:pt x="194" y="425"/>
                  <a:pt x="192" y="419"/>
                  <a:pt x="189" y="413"/>
                </a:cubicBezTo>
                <a:lnTo>
                  <a:pt x="150" y="371"/>
                </a:lnTo>
                <a:lnTo>
                  <a:pt x="130" y="310"/>
                </a:lnTo>
                <a:cubicBezTo>
                  <a:pt x="123" y="286"/>
                  <a:pt x="129" y="261"/>
                  <a:pt x="147" y="244"/>
                </a:cubicBezTo>
                <a:cubicBezTo>
                  <a:pt x="187" y="251"/>
                  <a:pt x="229" y="236"/>
                  <a:pt x="253" y="205"/>
                </a:cubicBezTo>
                <a:cubicBezTo>
                  <a:pt x="301" y="209"/>
                  <a:pt x="346" y="186"/>
                  <a:pt x="369" y="147"/>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56">
            <a:extLst>
              <a:ext uri="{FF2B5EF4-FFF2-40B4-BE49-F238E27FC236}">
                <a16:creationId xmlns:a16="http://schemas.microsoft.com/office/drawing/2014/main" id="{EC3ACB3E-AC4C-4E5D-9DE9-9CB33A79E94F}"/>
              </a:ext>
            </a:extLst>
          </p:cNvPr>
          <p:cNvSpPr>
            <a:spLocks/>
          </p:cNvSpPr>
          <p:nvPr/>
        </p:nvSpPr>
        <p:spPr bwMode="auto">
          <a:xfrm>
            <a:off x="6030912" y="5294773"/>
            <a:ext cx="146050" cy="139700"/>
          </a:xfrm>
          <a:custGeom>
            <a:avLst/>
            <a:gdLst>
              <a:gd name="T0" fmla="*/ 369 w 491"/>
              <a:gd name="T1" fmla="*/ 147 h 469"/>
              <a:gd name="T2" fmla="*/ 482 w 491"/>
              <a:gd name="T3" fmla="*/ 143 h 469"/>
              <a:gd name="T4" fmla="*/ 491 w 491"/>
              <a:gd name="T5" fmla="*/ 114 h 469"/>
              <a:gd name="T6" fmla="*/ 374 w 491"/>
              <a:gd name="T7" fmla="*/ 11 h 469"/>
              <a:gd name="T8" fmla="*/ 270 w 491"/>
              <a:gd name="T9" fmla="*/ 1 h 469"/>
              <a:gd name="T10" fmla="*/ 177 w 491"/>
              <a:gd name="T11" fmla="*/ 13 h 469"/>
              <a:gd name="T12" fmla="*/ 108 w 491"/>
              <a:gd name="T13" fmla="*/ 53 h 469"/>
              <a:gd name="T14" fmla="*/ 33 w 491"/>
              <a:gd name="T15" fmla="*/ 116 h 469"/>
              <a:gd name="T16" fmla="*/ 6 w 491"/>
              <a:gd name="T17" fmla="*/ 273 h 469"/>
              <a:gd name="T18" fmla="*/ 45 w 491"/>
              <a:gd name="T19" fmla="*/ 419 h 469"/>
              <a:gd name="T20" fmla="*/ 149 w 491"/>
              <a:gd name="T21" fmla="*/ 468 h 469"/>
              <a:gd name="T22" fmla="*/ 193 w 491"/>
              <a:gd name="T23" fmla="*/ 432 h 469"/>
              <a:gd name="T24" fmla="*/ 189 w 491"/>
              <a:gd name="T25" fmla="*/ 413 h 469"/>
              <a:gd name="T26" fmla="*/ 150 w 491"/>
              <a:gd name="T27" fmla="*/ 371 h 469"/>
              <a:gd name="T28" fmla="*/ 130 w 491"/>
              <a:gd name="T29" fmla="*/ 310 h 469"/>
              <a:gd name="T30" fmla="*/ 147 w 491"/>
              <a:gd name="T31" fmla="*/ 244 h 469"/>
              <a:gd name="T32" fmla="*/ 253 w 491"/>
              <a:gd name="T33" fmla="*/ 205 h 469"/>
              <a:gd name="T34" fmla="*/ 369 w 491"/>
              <a:gd name="T35" fmla="*/ 14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1" h="469">
                <a:moveTo>
                  <a:pt x="369" y="147"/>
                </a:moveTo>
                <a:cubicBezTo>
                  <a:pt x="406" y="160"/>
                  <a:pt x="447" y="159"/>
                  <a:pt x="482" y="143"/>
                </a:cubicBezTo>
                <a:cubicBezTo>
                  <a:pt x="486" y="134"/>
                  <a:pt x="489" y="124"/>
                  <a:pt x="491" y="114"/>
                </a:cubicBezTo>
                <a:cubicBezTo>
                  <a:pt x="465" y="69"/>
                  <a:pt x="424" y="33"/>
                  <a:pt x="374" y="11"/>
                </a:cubicBezTo>
                <a:cubicBezTo>
                  <a:pt x="340" y="3"/>
                  <a:pt x="305" y="0"/>
                  <a:pt x="270" y="1"/>
                </a:cubicBezTo>
                <a:cubicBezTo>
                  <a:pt x="238" y="0"/>
                  <a:pt x="207" y="4"/>
                  <a:pt x="177" y="13"/>
                </a:cubicBezTo>
                <a:cubicBezTo>
                  <a:pt x="153" y="26"/>
                  <a:pt x="130" y="39"/>
                  <a:pt x="108" y="53"/>
                </a:cubicBezTo>
                <a:cubicBezTo>
                  <a:pt x="78" y="68"/>
                  <a:pt x="52" y="90"/>
                  <a:pt x="33" y="116"/>
                </a:cubicBezTo>
                <a:cubicBezTo>
                  <a:pt x="13" y="166"/>
                  <a:pt x="3" y="219"/>
                  <a:pt x="6" y="273"/>
                </a:cubicBezTo>
                <a:cubicBezTo>
                  <a:pt x="0" y="324"/>
                  <a:pt x="14" y="376"/>
                  <a:pt x="45" y="419"/>
                </a:cubicBezTo>
                <a:cubicBezTo>
                  <a:pt x="75" y="444"/>
                  <a:pt x="111" y="460"/>
                  <a:pt x="149" y="468"/>
                </a:cubicBezTo>
                <a:cubicBezTo>
                  <a:pt x="172" y="469"/>
                  <a:pt x="192" y="453"/>
                  <a:pt x="193" y="432"/>
                </a:cubicBezTo>
                <a:cubicBezTo>
                  <a:pt x="194" y="425"/>
                  <a:pt x="192" y="419"/>
                  <a:pt x="189" y="413"/>
                </a:cubicBezTo>
                <a:lnTo>
                  <a:pt x="150" y="371"/>
                </a:lnTo>
                <a:lnTo>
                  <a:pt x="130" y="310"/>
                </a:lnTo>
                <a:cubicBezTo>
                  <a:pt x="123" y="286"/>
                  <a:pt x="129" y="261"/>
                  <a:pt x="147" y="244"/>
                </a:cubicBezTo>
                <a:cubicBezTo>
                  <a:pt x="187" y="251"/>
                  <a:pt x="229" y="236"/>
                  <a:pt x="253" y="205"/>
                </a:cubicBezTo>
                <a:cubicBezTo>
                  <a:pt x="301" y="209"/>
                  <a:pt x="346" y="186"/>
                  <a:pt x="369" y="147"/>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 name="Freeform 57">
            <a:extLst>
              <a:ext uri="{FF2B5EF4-FFF2-40B4-BE49-F238E27FC236}">
                <a16:creationId xmlns:a16="http://schemas.microsoft.com/office/drawing/2014/main" id="{473D97D4-71D7-4C8F-808A-1FAA6BFB0AF6}"/>
              </a:ext>
            </a:extLst>
          </p:cNvPr>
          <p:cNvSpPr>
            <a:spLocks/>
          </p:cNvSpPr>
          <p:nvPr/>
        </p:nvSpPr>
        <p:spPr bwMode="auto">
          <a:xfrm>
            <a:off x="6143624" y="5363035"/>
            <a:ext cx="12700" cy="11113"/>
          </a:xfrm>
          <a:custGeom>
            <a:avLst/>
            <a:gdLst>
              <a:gd name="T0" fmla="*/ 0 w 40"/>
              <a:gd name="T1" fmla="*/ 18 h 36"/>
              <a:gd name="T2" fmla="*/ 37 w 40"/>
              <a:gd name="T3" fmla="*/ 0 h 36"/>
              <a:gd name="T4" fmla="*/ 40 w 40"/>
              <a:gd name="T5" fmla="*/ 36 h 36"/>
              <a:gd name="T6" fmla="*/ 0 w 40"/>
              <a:gd name="T7" fmla="*/ 18 h 36"/>
            </a:gdLst>
            <a:ahLst/>
            <a:cxnLst>
              <a:cxn ang="0">
                <a:pos x="T0" y="T1"/>
              </a:cxn>
              <a:cxn ang="0">
                <a:pos x="T2" y="T3"/>
              </a:cxn>
              <a:cxn ang="0">
                <a:pos x="T4" y="T5"/>
              </a:cxn>
              <a:cxn ang="0">
                <a:pos x="T6" y="T7"/>
              </a:cxn>
            </a:cxnLst>
            <a:rect l="0" t="0" r="r" b="b"/>
            <a:pathLst>
              <a:path w="40" h="36">
                <a:moveTo>
                  <a:pt x="0" y="18"/>
                </a:moveTo>
                <a:cubicBezTo>
                  <a:pt x="10" y="9"/>
                  <a:pt x="23" y="3"/>
                  <a:pt x="37" y="0"/>
                </a:cubicBezTo>
                <a:lnTo>
                  <a:pt x="40" y="36"/>
                </a:lnTo>
                <a:lnTo>
                  <a:pt x="0" y="18"/>
                </a:lnTo>
                <a:close/>
              </a:path>
            </a:pathLst>
          </a:custGeom>
          <a:solidFill>
            <a:srgbClr val="0000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3130" name="Picture 58">
            <a:extLst>
              <a:ext uri="{FF2B5EF4-FFF2-40B4-BE49-F238E27FC236}">
                <a16:creationId xmlns:a16="http://schemas.microsoft.com/office/drawing/2014/main" id="{84F16518-DEC6-408C-9BEC-4AD6D4B719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46787" y="5437648"/>
            <a:ext cx="100013" cy="42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Freeform 59">
            <a:extLst>
              <a:ext uri="{FF2B5EF4-FFF2-40B4-BE49-F238E27FC236}">
                <a16:creationId xmlns:a16="http://schemas.microsoft.com/office/drawing/2014/main" id="{DDF0D1FE-EC48-486B-9B74-859E1CBACD39}"/>
              </a:ext>
            </a:extLst>
          </p:cNvPr>
          <p:cNvSpPr>
            <a:spLocks/>
          </p:cNvSpPr>
          <p:nvPr/>
        </p:nvSpPr>
        <p:spPr bwMode="auto">
          <a:xfrm>
            <a:off x="6048374" y="5439235"/>
            <a:ext cx="90488" cy="36513"/>
          </a:xfrm>
          <a:custGeom>
            <a:avLst/>
            <a:gdLst>
              <a:gd name="T0" fmla="*/ 0 w 307"/>
              <a:gd name="T1" fmla="*/ 68 h 121"/>
              <a:gd name="T2" fmla="*/ 307 w 307"/>
              <a:gd name="T3" fmla="*/ 103 h 121"/>
              <a:gd name="T4" fmla="*/ 227 w 307"/>
              <a:gd name="T5" fmla="*/ 121 h 121"/>
              <a:gd name="T6" fmla="*/ 0 w 307"/>
              <a:gd name="T7" fmla="*/ 68 h 121"/>
            </a:gdLst>
            <a:ahLst/>
            <a:cxnLst>
              <a:cxn ang="0">
                <a:pos x="T0" y="T1"/>
              </a:cxn>
              <a:cxn ang="0">
                <a:pos x="T2" y="T3"/>
              </a:cxn>
              <a:cxn ang="0">
                <a:pos x="T4" y="T5"/>
              </a:cxn>
              <a:cxn ang="0">
                <a:pos x="T6" y="T7"/>
              </a:cxn>
            </a:cxnLst>
            <a:rect l="0" t="0" r="r" b="b"/>
            <a:pathLst>
              <a:path w="307" h="121">
                <a:moveTo>
                  <a:pt x="0" y="68"/>
                </a:moveTo>
                <a:cubicBezTo>
                  <a:pt x="96" y="0"/>
                  <a:pt x="232" y="16"/>
                  <a:pt x="307" y="103"/>
                </a:cubicBezTo>
                <a:lnTo>
                  <a:pt x="227" y="121"/>
                </a:lnTo>
                <a:cubicBezTo>
                  <a:pt x="156" y="90"/>
                  <a:pt x="79" y="72"/>
                  <a:pt x="0" y="68"/>
                </a:cubicBezTo>
                <a:close/>
              </a:path>
            </a:pathLst>
          </a:custGeom>
          <a:noFill/>
          <a:ln w="7938" cap="rnd">
            <a:solidFill>
              <a:srgbClr val="000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Rectangle 60">
            <a:extLst>
              <a:ext uri="{FF2B5EF4-FFF2-40B4-BE49-F238E27FC236}">
                <a16:creationId xmlns:a16="http://schemas.microsoft.com/office/drawing/2014/main" id="{09624422-BBD8-4BE5-8C5B-9D094EE176B3}"/>
              </a:ext>
            </a:extLst>
          </p:cNvPr>
          <p:cNvSpPr>
            <a:spLocks noChangeArrowheads="1"/>
          </p:cNvSpPr>
          <p:nvPr/>
        </p:nvSpPr>
        <p:spPr bwMode="auto">
          <a:xfrm>
            <a:off x="6127749" y="5437648"/>
            <a:ext cx="42863" cy="9525"/>
          </a:xfrm>
          <a:prstGeom prst="rect">
            <a:avLst/>
          </a:prstGeom>
          <a:solidFill>
            <a:srgbClr val="0000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61">
            <a:extLst>
              <a:ext uri="{FF2B5EF4-FFF2-40B4-BE49-F238E27FC236}">
                <a16:creationId xmlns:a16="http://schemas.microsoft.com/office/drawing/2014/main" id="{298D02FC-3F9E-4D97-9F9D-A8B9D386362F}"/>
              </a:ext>
            </a:extLst>
          </p:cNvPr>
          <p:cNvSpPr>
            <a:spLocks noChangeArrowheads="1"/>
          </p:cNvSpPr>
          <p:nvPr/>
        </p:nvSpPr>
        <p:spPr bwMode="auto">
          <a:xfrm>
            <a:off x="6127749" y="5447173"/>
            <a:ext cx="42863" cy="4763"/>
          </a:xfrm>
          <a:prstGeom prst="rect">
            <a:avLst/>
          </a:prstGeom>
          <a:solidFill>
            <a:srgbClr val="00009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62">
            <a:extLst>
              <a:ext uri="{FF2B5EF4-FFF2-40B4-BE49-F238E27FC236}">
                <a16:creationId xmlns:a16="http://schemas.microsoft.com/office/drawing/2014/main" id="{1C50904F-1E19-41E6-A9B3-812466A425CD}"/>
              </a:ext>
            </a:extLst>
          </p:cNvPr>
          <p:cNvSpPr>
            <a:spLocks noChangeArrowheads="1"/>
          </p:cNvSpPr>
          <p:nvPr/>
        </p:nvSpPr>
        <p:spPr bwMode="auto">
          <a:xfrm>
            <a:off x="6127749" y="5451935"/>
            <a:ext cx="42863" cy="4763"/>
          </a:xfrm>
          <a:prstGeom prst="rect">
            <a:avLst/>
          </a:prstGeom>
          <a:solidFill>
            <a:srgbClr val="0000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63">
            <a:extLst>
              <a:ext uri="{FF2B5EF4-FFF2-40B4-BE49-F238E27FC236}">
                <a16:creationId xmlns:a16="http://schemas.microsoft.com/office/drawing/2014/main" id="{8A70D2D7-A3F6-44E2-9846-8FE9831A7284}"/>
              </a:ext>
            </a:extLst>
          </p:cNvPr>
          <p:cNvSpPr>
            <a:spLocks noChangeArrowheads="1"/>
          </p:cNvSpPr>
          <p:nvPr/>
        </p:nvSpPr>
        <p:spPr bwMode="auto">
          <a:xfrm>
            <a:off x="6127749" y="5456698"/>
            <a:ext cx="42863" cy="4763"/>
          </a:xfrm>
          <a:prstGeom prst="rect">
            <a:avLst/>
          </a:prstGeom>
          <a:solidFill>
            <a:srgbClr val="0000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64">
            <a:extLst>
              <a:ext uri="{FF2B5EF4-FFF2-40B4-BE49-F238E27FC236}">
                <a16:creationId xmlns:a16="http://schemas.microsoft.com/office/drawing/2014/main" id="{99798500-EC23-4C0C-931C-7142A4AB53D4}"/>
              </a:ext>
            </a:extLst>
          </p:cNvPr>
          <p:cNvSpPr>
            <a:spLocks noChangeArrowheads="1"/>
          </p:cNvSpPr>
          <p:nvPr/>
        </p:nvSpPr>
        <p:spPr bwMode="auto">
          <a:xfrm>
            <a:off x="6127749" y="5461460"/>
            <a:ext cx="42863" cy="4763"/>
          </a:xfrm>
          <a:prstGeom prst="rect">
            <a:avLst/>
          </a:prstGeom>
          <a:solidFill>
            <a:srgbClr val="000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65">
            <a:extLst>
              <a:ext uri="{FF2B5EF4-FFF2-40B4-BE49-F238E27FC236}">
                <a16:creationId xmlns:a16="http://schemas.microsoft.com/office/drawing/2014/main" id="{EC420ABF-20C0-4597-829C-AA8558BB721E}"/>
              </a:ext>
            </a:extLst>
          </p:cNvPr>
          <p:cNvSpPr>
            <a:spLocks noChangeArrowheads="1"/>
          </p:cNvSpPr>
          <p:nvPr/>
        </p:nvSpPr>
        <p:spPr bwMode="auto">
          <a:xfrm>
            <a:off x="6127749" y="5466223"/>
            <a:ext cx="42863" cy="9525"/>
          </a:xfrm>
          <a:prstGeom prst="rect">
            <a:avLst/>
          </a:prstGeom>
          <a:solidFill>
            <a:srgbClr val="0000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66">
            <a:extLst>
              <a:ext uri="{FF2B5EF4-FFF2-40B4-BE49-F238E27FC236}">
                <a16:creationId xmlns:a16="http://schemas.microsoft.com/office/drawing/2014/main" id="{47FF1825-4396-4B63-B584-03D31BDE949D}"/>
              </a:ext>
            </a:extLst>
          </p:cNvPr>
          <p:cNvSpPr>
            <a:spLocks/>
          </p:cNvSpPr>
          <p:nvPr/>
        </p:nvSpPr>
        <p:spPr bwMode="auto">
          <a:xfrm>
            <a:off x="6129337" y="5440823"/>
            <a:ext cx="34925" cy="30163"/>
          </a:xfrm>
          <a:custGeom>
            <a:avLst/>
            <a:gdLst>
              <a:gd name="T0" fmla="*/ 3 w 22"/>
              <a:gd name="T1" fmla="*/ 15 h 19"/>
              <a:gd name="T2" fmla="*/ 9 w 22"/>
              <a:gd name="T3" fmla="*/ 2 h 19"/>
              <a:gd name="T4" fmla="*/ 22 w 22"/>
              <a:gd name="T5" fmla="*/ 5 h 19"/>
              <a:gd name="T6" fmla="*/ 6 w 22"/>
              <a:gd name="T7" fmla="*/ 19 h 19"/>
              <a:gd name="T8" fmla="*/ 3 w 22"/>
              <a:gd name="T9" fmla="*/ 15 h 19"/>
            </a:gdLst>
            <a:ahLst/>
            <a:cxnLst>
              <a:cxn ang="0">
                <a:pos x="T0" y="T1"/>
              </a:cxn>
              <a:cxn ang="0">
                <a:pos x="T2" y="T3"/>
              </a:cxn>
              <a:cxn ang="0">
                <a:pos x="T4" y="T5"/>
              </a:cxn>
              <a:cxn ang="0">
                <a:pos x="T6" y="T7"/>
              </a:cxn>
              <a:cxn ang="0">
                <a:pos x="T8" y="T9"/>
              </a:cxn>
            </a:cxnLst>
            <a:rect l="0" t="0" r="r" b="b"/>
            <a:pathLst>
              <a:path w="22" h="19">
                <a:moveTo>
                  <a:pt x="3" y="15"/>
                </a:moveTo>
                <a:cubicBezTo>
                  <a:pt x="0" y="9"/>
                  <a:pt x="3" y="3"/>
                  <a:pt x="9" y="2"/>
                </a:cubicBezTo>
                <a:cubicBezTo>
                  <a:pt x="14" y="0"/>
                  <a:pt x="19" y="2"/>
                  <a:pt x="22" y="5"/>
                </a:cubicBezTo>
                <a:cubicBezTo>
                  <a:pt x="17" y="11"/>
                  <a:pt x="12" y="15"/>
                  <a:pt x="6" y="19"/>
                </a:cubicBezTo>
                <a:cubicBezTo>
                  <a:pt x="4" y="18"/>
                  <a:pt x="3" y="16"/>
                  <a:pt x="3" y="15"/>
                </a:cubicBezTo>
              </a:path>
            </a:pathLst>
          </a:custGeom>
          <a:noFill/>
          <a:ln w="7938" cap="rnd">
            <a:solidFill>
              <a:srgbClr val="000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139" name="Picture 67">
            <a:extLst>
              <a:ext uri="{FF2B5EF4-FFF2-40B4-BE49-F238E27FC236}">
                <a16:creationId xmlns:a16="http://schemas.microsoft.com/office/drawing/2014/main" id="{0CEBBFEC-6EB9-4BDF-8FC7-D2C4AFA2C07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32499" y="5013785"/>
            <a:ext cx="1524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40" name="Picture 68">
            <a:extLst>
              <a:ext uri="{FF2B5EF4-FFF2-40B4-BE49-F238E27FC236}">
                <a16:creationId xmlns:a16="http://schemas.microsoft.com/office/drawing/2014/main" id="{5234C394-4421-49A5-9C57-368C55E9141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32499" y="5013785"/>
            <a:ext cx="1524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 name="Freeform 69">
            <a:extLst>
              <a:ext uri="{FF2B5EF4-FFF2-40B4-BE49-F238E27FC236}">
                <a16:creationId xmlns:a16="http://schemas.microsoft.com/office/drawing/2014/main" id="{E3B76B61-1E5F-4212-9591-D42E5CA683DA}"/>
              </a:ext>
            </a:extLst>
          </p:cNvPr>
          <p:cNvSpPr>
            <a:spLocks/>
          </p:cNvSpPr>
          <p:nvPr/>
        </p:nvSpPr>
        <p:spPr bwMode="auto">
          <a:xfrm>
            <a:off x="6035674" y="5016960"/>
            <a:ext cx="147638" cy="152400"/>
          </a:xfrm>
          <a:custGeom>
            <a:avLst/>
            <a:gdLst>
              <a:gd name="T0" fmla="*/ 276 w 496"/>
              <a:gd name="T1" fmla="*/ 417 h 510"/>
              <a:gd name="T2" fmla="*/ 406 w 496"/>
              <a:gd name="T3" fmla="*/ 420 h 510"/>
              <a:gd name="T4" fmla="*/ 434 w 496"/>
              <a:gd name="T5" fmla="*/ 409 h 510"/>
              <a:gd name="T6" fmla="*/ 446 w 496"/>
              <a:gd name="T7" fmla="*/ 303 h 510"/>
              <a:gd name="T8" fmla="*/ 496 w 496"/>
              <a:gd name="T9" fmla="*/ 279 h 510"/>
              <a:gd name="T10" fmla="*/ 432 w 496"/>
              <a:gd name="T11" fmla="*/ 205 h 510"/>
              <a:gd name="T12" fmla="*/ 465 w 496"/>
              <a:gd name="T13" fmla="*/ 178 h 510"/>
              <a:gd name="T14" fmla="*/ 456 w 496"/>
              <a:gd name="T15" fmla="*/ 119 h 510"/>
              <a:gd name="T16" fmla="*/ 128 w 496"/>
              <a:gd name="T17" fmla="*/ 70 h 510"/>
              <a:gd name="T18" fmla="*/ 76 w 496"/>
              <a:gd name="T19" fmla="*/ 375 h 510"/>
              <a:gd name="T20" fmla="*/ 130 w 496"/>
              <a:gd name="T21" fmla="*/ 424 h 510"/>
              <a:gd name="T22" fmla="*/ 134 w 496"/>
              <a:gd name="T23" fmla="*/ 510 h 510"/>
              <a:gd name="T24" fmla="*/ 352 w 496"/>
              <a:gd name="T25" fmla="*/ 510 h 510"/>
              <a:gd name="T26" fmla="*/ 352 w 496"/>
              <a:gd name="T27" fmla="*/ 422 h 510"/>
              <a:gd name="T28" fmla="*/ 276 w 496"/>
              <a:gd name="T29"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6" h="510">
                <a:moveTo>
                  <a:pt x="276" y="417"/>
                </a:moveTo>
                <a:lnTo>
                  <a:pt x="406" y="420"/>
                </a:lnTo>
                <a:lnTo>
                  <a:pt x="434" y="409"/>
                </a:lnTo>
                <a:lnTo>
                  <a:pt x="446" y="303"/>
                </a:lnTo>
                <a:cubicBezTo>
                  <a:pt x="463" y="296"/>
                  <a:pt x="479" y="288"/>
                  <a:pt x="496" y="279"/>
                </a:cubicBezTo>
                <a:lnTo>
                  <a:pt x="432" y="205"/>
                </a:lnTo>
                <a:cubicBezTo>
                  <a:pt x="438" y="192"/>
                  <a:pt x="450" y="182"/>
                  <a:pt x="465" y="178"/>
                </a:cubicBezTo>
                <a:lnTo>
                  <a:pt x="456" y="119"/>
                </a:lnTo>
                <a:cubicBezTo>
                  <a:pt x="380" y="22"/>
                  <a:pt x="233" y="0"/>
                  <a:pt x="128" y="70"/>
                </a:cubicBezTo>
                <a:cubicBezTo>
                  <a:pt x="23" y="141"/>
                  <a:pt x="0" y="277"/>
                  <a:pt x="76" y="375"/>
                </a:cubicBezTo>
                <a:cubicBezTo>
                  <a:pt x="91" y="394"/>
                  <a:pt x="109" y="410"/>
                  <a:pt x="130" y="424"/>
                </a:cubicBezTo>
                <a:lnTo>
                  <a:pt x="134" y="510"/>
                </a:lnTo>
                <a:lnTo>
                  <a:pt x="352" y="510"/>
                </a:lnTo>
                <a:lnTo>
                  <a:pt x="352" y="422"/>
                </a:lnTo>
                <a:lnTo>
                  <a:pt x="276" y="417"/>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 name="Freeform 70">
            <a:extLst>
              <a:ext uri="{FF2B5EF4-FFF2-40B4-BE49-F238E27FC236}">
                <a16:creationId xmlns:a16="http://schemas.microsoft.com/office/drawing/2014/main" id="{6A6F2298-DF43-43A5-9D92-28281B6A5CF3}"/>
              </a:ext>
            </a:extLst>
          </p:cNvPr>
          <p:cNvSpPr>
            <a:spLocks/>
          </p:cNvSpPr>
          <p:nvPr/>
        </p:nvSpPr>
        <p:spPr bwMode="auto">
          <a:xfrm>
            <a:off x="6030912" y="5004260"/>
            <a:ext cx="146050" cy="139700"/>
          </a:xfrm>
          <a:custGeom>
            <a:avLst/>
            <a:gdLst>
              <a:gd name="T0" fmla="*/ 369 w 491"/>
              <a:gd name="T1" fmla="*/ 148 h 470"/>
              <a:gd name="T2" fmla="*/ 482 w 491"/>
              <a:gd name="T3" fmla="*/ 143 h 470"/>
              <a:gd name="T4" fmla="*/ 491 w 491"/>
              <a:gd name="T5" fmla="*/ 115 h 470"/>
              <a:gd name="T6" fmla="*/ 374 w 491"/>
              <a:gd name="T7" fmla="*/ 12 h 470"/>
              <a:gd name="T8" fmla="*/ 270 w 491"/>
              <a:gd name="T9" fmla="*/ 2 h 470"/>
              <a:gd name="T10" fmla="*/ 177 w 491"/>
              <a:gd name="T11" fmla="*/ 14 h 470"/>
              <a:gd name="T12" fmla="*/ 108 w 491"/>
              <a:gd name="T13" fmla="*/ 54 h 470"/>
              <a:gd name="T14" fmla="*/ 33 w 491"/>
              <a:gd name="T15" fmla="*/ 117 h 470"/>
              <a:gd name="T16" fmla="*/ 6 w 491"/>
              <a:gd name="T17" fmla="*/ 273 h 470"/>
              <a:gd name="T18" fmla="*/ 45 w 491"/>
              <a:gd name="T19" fmla="*/ 420 h 470"/>
              <a:gd name="T20" fmla="*/ 149 w 491"/>
              <a:gd name="T21" fmla="*/ 468 h 470"/>
              <a:gd name="T22" fmla="*/ 193 w 491"/>
              <a:gd name="T23" fmla="*/ 432 h 470"/>
              <a:gd name="T24" fmla="*/ 189 w 491"/>
              <a:gd name="T25" fmla="*/ 413 h 470"/>
              <a:gd name="T26" fmla="*/ 150 w 491"/>
              <a:gd name="T27" fmla="*/ 372 h 470"/>
              <a:gd name="T28" fmla="*/ 130 w 491"/>
              <a:gd name="T29" fmla="*/ 310 h 470"/>
              <a:gd name="T30" fmla="*/ 147 w 491"/>
              <a:gd name="T31" fmla="*/ 244 h 470"/>
              <a:gd name="T32" fmla="*/ 253 w 491"/>
              <a:gd name="T33" fmla="*/ 205 h 470"/>
              <a:gd name="T34" fmla="*/ 369 w 491"/>
              <a:gd name="T35" fmla="*/ 148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1" h="470">
                <a:moveTo>
                  <a:pt x="369" y="148"/>
                </a:moveTo>
                <a:cubicBezTo>
                  <a:pt x="406" y="161"/>
                  <a:pt x="447" y="159"/>
                  <a:pt x="482" y="143"/>
                </a:cubicBezTo>
                <a:cubicBezTo>
                  <a:pt x="486" y="134"/>
                  <a:pt x="489" y="125"/>
                  <a:pt x="491" y="115"/>
                </a:cubicBezTo>
                <a:cubicBezTo>
                  <a:pt x="465" y="70"/>
                  <a:pt x="424" y="33"/>
                  <a:pt x="374" y="12"/>
                </a:cubicBezTo>
                <a:cubicBezTo>
                  <a:pt x="340" y="4"/>
                  <a:pt x="305" y="1"/>
                  <a:pt x="270" y="2"/>
                </a:cubicBezTo>
                <a:cubicBezTo>
                  <a:pt x="238" y="0"/>
                  <a:pt x="207" y="5"/>
                  <a:pt x="177" y="14"/>
                </a:cubicBezTo>
                <a:cubicBezTo>
                  <a:pt x="153" y="26"/>
                  <a:pt x="130" y="39"/>
                  <a:pt x="108" y="54"/>
                </a:cubicBezTo>
                <a:cubicBezTo>
                  <a:pt x="78" y="69"/>
                  <a:pt x="52" y="91"/>
                  <a:pt x="33" y="117"/>
                </a:cubicBezTo>
                <a:cubicBezTo>
                  <a:pt x="13" y="167"/>
                  <a:pt x="3" y="220"/>
                  <a:pt x="6" y="273"/>
                </a:cubicBezTo>
                <a:cubicBezTo>
                  <a:pt x="0" y="325"/>
                  <a:pt x="14" y="377"/>
                  <a:pt x="45" y="420"/>
                </a:cubicBezTo>
                <a:cubicBezTo>
                  <a:pt x="75" y="444"/>
                  <a:pt x="111" y="461"/>
                  <a:pt x="149" y="468"/>
                </a:cubicBezTo>
                <a:cubicBezTo>
                  <a:pt x="172" y="470"/>
                  <a:pt x="192" y="453"/>
                  <a:pt x="193" y="432"/>
                </a:cubicBezTo>
                <a:cubicBezTo>
                  <a:pt x="194" y="426"/>
                  <a:pt x="192" y="419"/>
                  <a:pt x="189" y="413"/>
                </a:cubicBezTo>
                <a:lnTo>
                  <a:pt x="150" y="372"/>
                </a:lnTo>
                <a:lnTo>
                  <a:pt x="130" y="310"/>
                </a:lnTo>
                <a:cubicBezTo>
                  <a:pt x="123" y="287"/>
                  <a:pt x="129" y="262"/>
                  <a:pt x="147" y="244"/>
                </a:cubicBezTo>
                <a:cubicBezTo>
                  <a:pt x="187" y="252"/>
                  <a:pt x="229" y="237"/>
                  <a:pt x="253" y="205"/>
                </a:cubicBezTo>
                <a:cubicBezTo>
                  <a:pt x="301" y="210"/>
                  <a:pt x="346" y="187"/>
                  <a:pt x="369" y="148"/>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71">
            <a:extLst>
              <a:ext uri="{FF2B5EF4-FFF2-40B4-BE49-F238E27FC236}">
                <a16:creationId xmlns:a16="http://schemas.microsoft.com/office/drawing/2014/main" id="{B81BCB2D-6E1A-4553-855F-C2FD21B59434}"/>
              </a:ext>
            </a:extLst>
          </p:cNvPr>
          <p:cNvSpPr>
            <a:spLocks/>
          </p:cNvSpPr>
          <p:nvPr/>
        </p:nvSpPr>
        <p:spPr bwMode="auto">
          <a:xfrm>
            <a:off x="6030912" y="5004260"/>
            <a:ext cx="146050" cy="139700"/>
          </a:xfrm>
          <a:custGeom>
            <a:avLst/>
            <a:gdLst>
              <a:gd name="T0" fmla="*/ 369 w 491"/>
              <a:gd name="T1" fmla="*/ 148 h 470"/>
              <a:gd name="T2" fmla="*/ 482 w 491"/>
              <a:gd name="T3" fmla="*/ 143 h 470"/>
              <a:gd name="T4" fmla="*/ 491 w 491"/>
              <a:gd name="T5" fmla="*/ 115 h 470"/>
              <a:gd name="T6" fmla="*/ 374 w 491"/>
              <a:gd name="T7" fmla="*/ 12 h 470"/>
              <a:gd name="T8" fmla="*/ 270 w 491"/>
              <a:gd name="T9" fmla="*/ 2 h 470"/>
              <a:gd name="T10" fmla="*/ 177 w 491"/>
              <a:gd name="T11" fmla="*/ 14 h 470"/>
              <a:gd name="T12" fmla="*/ 108 w 491"/>
              <a:gd name="T13" fmla="*/ 54 h 470"/>
              <a:gd name="T14" fmla="*/ 33 w 491"/>
              <a:gd name="T15" fmla="*/ 117 h 470"/>
              <a:gd name="T16" fmla="*/ 6 w 491"/>
              <a:gd name="T17" fmla="*/ 273 h 470"/>
              <a:gd name="T18" fmla="*/ 45 w 491"/>
              <a:gd name="T19" fmla="*/ 420 h 470"/>
              <a:gd name="T20" fmla="*/ 149 w 491"/>
              <a:gd name="T21" fmla="*/ 468 h 470"/>
              <a:gd name="T22" fmla="*/ 193 w 491"/>
              <a:gd name="T23" fmla="*/ 432 h 470"/>
              <a:gd name="T24" fmla="*/ 189 w 491"/>
              <a:gd name="T25" fmla="*/ 413 h 470"/>
              <a:gd name="T26" fmla="*/ 150 w 491"/>
              <a:gd name="T27" fmla="*/ 372 h 470"/>
              <a:gd name="T28" fmla="*/ 130 w 491"/>
              <a:gd name="T29" fmla="*/ 310 h 470"/>
              <a:gd name="T30" fmla="*/ 147 w 491"/>
              <a:gd name="T31" fmla="*/ 244 h 470"/>
              <a:gd name="T32" fmla="*/ 253 w 491"/>
              <a:gd name="T33" fmla="*/ 205 h 470"/>
              <a:gd name="T34" fmla="*/ 369 w 491"/>
              <a:gd name="T35" fmla="*/ 148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1" h="470">
                <a:moveTo>
                  <a:pt x="369" y="148"/>
                </a:moveTo>
                <a:cubicBezTo>
                  <a:pt x="406" y="161"/>
                  <a:pt x="447" y="159"/>
                  <a:pt x="482" y="143"/>
                </a:cubicBezTo>
                <a:cubicBezTo>
                  <a:pt x="486" y="134"/>
                  <a:pt x="489" y="125"/>
                  <a:pt x="491" y="115"/>
                </a:cubicBezTo>
                <a:cubicBezTo>
                  <a:pt x="465" y="70"/>
                  <a:pt x="424" y="33"/>
                  <a:pt x="374" y="12"/>
                </a:cubicBezTo>
                <a:cubicBezTo>
                  <a:pt x="340" y="4"/>
                  <a:pt x="305" y="1"/>
                  <a:pt x="270" y="2"/>
                </a:cubicBezTo>
                <a:cubicBezTo>
                  <a:pt x="238" y="0"/>
                  <a:pt x="207" y="5"/>
                  <a:pt x="177" y="14"/>
                </a:cubicBezTo>
                <a:cubicBezTo>
                  <a:pt x="153" y="26"/>
                  <a:pt x="130" y="39"/>
                  <a:pt x="108" y="54"/>
                </a:cubicBezTo>
                <a:cubicBezTo>
                  <a:pt x="78" y="69"/>
                  <a:pt x="52" y="91"/>
                  <a:pt x="33" y="117"/>
                </a:cubicBezTo>
                <a:cubicBezTo>
                  <a:pt x="13" y="167"/>
                  <a:pt x="3" y="220"/>
                  <a:pt x="6" y="273"/>
                </a:cubicBezTo>
                <a:cubicBezTo>
                  <a:pt x="0" y="325"/>
                  <a:pt x="14" y="377"/>
                  <a:pt x="45" y="420"/>
                </a:cubicBezTo>
                <a:cubicBezTo>
                  <a:pt x="75" y="444"/>
                  <a:pt x="111" y="461"/>
                  <a:pt x="149" y="468"/>
                </a:cubicBezTo>
                <a:cubicBezTo>
                  <a:pt x="172" y="470"/>
                  <a:pt x="192" y="453"/>
                  <a:pt x="193" y="432"/>
                </a:cubicBezTo>
                <a:cubicBezTo>
                  <a:pt x="194" y="426"/>
                  <a:pt x="192" y="419"/>
                  <a:pt x="189" y="413"/>
                </a:cubicBezTo>
                <a:lnTo>
                  <a:pt x="150" y="372"/>
                </a:lnTo>
                <a:lnTo>
                  <a:pt x="130" y="310"/>
                </a:lnTo>
                <a:cubicBezTo>
                  <a:pt x="123" y="287"/>
                  <a:pt x="129" y="262"/>
                  <a:pt x="147" y="244"/>
                </a:cubicBezTo>
                <a:cubicBezTo>
                  <a:pt x="187" y="252"/>
                  <a:pt x="229" y="237"/>
                  <a:pt x="253" y="205"/>
                </a:cubicBezTo>
                <a:cubicBezTo>
                  <a:pt x="301" y="210"/>
                  <a:pt x="346" y="187"/>
                  <a:pt x="369" y="148"/>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 name="Freeform 72">
            <a:extLst>
              <a:ext uri="{FF2B5EF4-FFF2-40B4-BE49-F238E27FC236}">
                <a16:creationId xmlns:a16="http://schemas.microsoft.com/office/drawing/2014/main" id="{473AFF7C-DCD8-4258-B6DD-83FD9F1CEB28}"/>
              </a:ext>
            </a:extLst>
          </p:cNvPr>
          <p:cNvSpPr>
            <a:spLocks/>
          </p:cNvSpPr>
          <p:nvPr/>
        </p:nvSpPr>
        <p:spPr bwMode="auto">
          <a:xfrm>
            <a:off x="6143624" y="5072523"/>
            <a:ext cx="12700" cy="11113"/>
          </a:xfrm>
          <a:custGeom>
            <a:avLst/>
            <a:gdLst>
              <a:gd name="T0" fmla="*/ 0 w 40"/>
              <a:gd name="T1" fmla="*/ 18 h 35"/>
              <a:gd name="T2" fmla="*/ 37 w 40"/>
              <a:gd name="T3" fmla="*/ 0 h 35"/>
              <a:gd name="T4" fmla="*/ 40 w 40"/>
              <a:gd name="T5" fmla="*/ 35 h 35"/>
              <a:gd name="T6" fmla="*/ 0 w 40"/>
              <a:gd name="T7" fmla="*/ 18 h 35"/>
            </a:gdLst>
            <a:ahLst/>
            <a:cxnLst>
              <a:cxn ang="0">
                <a:pos x="T0" y="T1"/>
              </a:cxn>
              <a:cxn ang="0">
                <a:pos x="T2" y="T3"/>
              </a:cxn>
              <a:cxn ang="0">
                <a:pos x="T4" y="T5"/>
              </a:cxn>
              <a:cxn ang="0">
                <a:pos x="T6" y="T7"/>
              </a:cxn>
            </a:cxnLst>
            <a:rect l="0" t="0" r="r" b="b"/>
            <a:pathLst>
              <a:path w="40" h="35">
                <a:moveTo>
                  <a:pt x="0" y="18"/>
                </a:moveTo>
                <a:cubicBezTo>
                  <a:pt x="10" y="8"/>
                  <a:pt x="23" y="2"/>
                  <a:pt x="37" y="0"/>
                </a:cubicBezTo>
                <a:lnTo>
                  <a:pt x="40" y="35"/>
                </a:lnTo>
                <a:lnTo>
                  <a:pt x="0" y="18"/>
                </a:lnTo>
                <a:close/>
              </a:path>
            </a:pathLst>
          </a:custGeom>
          <a:solidFill>
            <a:srgbClr val="0000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3145" name="Picture 73">
            <a:extLst>
              <a:ext uri="{FF2B5EF4-FFF2-40B4-BE49-F238E27FC236}">
                <a16:creationId xmlns:a16="http://schemas.microsoft.com/office/drawing/2014/main" id="{FD314A27-1005-47A6-8682-4760123ABA4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46787" y="5147135"/>
            <a:ext cx="100013" cy="42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 name="Freeform 74">
            <a:extLst>
              <a:ext uri="{FF2B5EF4-FFF2-40B4-BE49-F238E27FC236}">
                <a16:creationId xmlns:a16="http://schemas.microsoft.com/office/drawing/2014/main" id="{1339CFC1-F345-4503-B05F-DE308C0BA39B}"/>
              </a:ext>
            </a:extLst>
          </p:cNvPr>
          <p:cNvSpPr>
            <a:spLocks/>
          </p:cNvSpPr>
          <p:nvPr/>
        </p:nvSpPr>
        <p:spPr bwMode="auto">
          <a:xfrm>
            <a:off x="6048374" y="5148723"/>
            <a:ext cx="90488" cy="36513"/>
          </a:xfrm>
          <a:custGeom>
            <a:avLst/>
            <a:gdLst>
              <a:gd name="T0" fmla="*/ 0 w 307"/>
              <a:gd name="T1" fmla="*/ 68 h 120"/>
              <a:gd name="T2" fmla="*/ 307 w 307"/>
              <a:gd name="T3" fmla="*/ 103 h 120"/>
              <a:gd name="T4" fmla="*/ 227 w 307"/>
              <a:gd name="T5" fmla="*/ 120 h 120"/>
              <a:gd name="T6" fmla="*/ 0 w 307"/>
              <a:gd name="T7" fmla="*/ 68 h 120"/>
            </a:gdLst>
            <a:ahLst/>
            <a:cxnLst>
              <a:cxn ang="0">
                <a:pos x="T0" y="T1"/>
              </a:cxn>
              <a:cxn ang="0">
                <a:pos x="T2" y="T3"/>
              </a:cxn>
              <a:cxn ang="0">
                <a:pos x="T4" y="T5"/>
              </a:cxn>
              <a:cxn ang="0">
                <a:pos x="T6" y="T7"/>
              </a:cxn>
            </a:cxnLst>
            <a:rect l="0" t="0" r="r" b="b"/>
            <a:pathLst>
              <a:path w="307" h="120">
                <a:moveTo>
                  <a:pt x="0" y="68"/>
                </a:moveTo>
                <a:cubicBezTo>
                  <a:pt x="96" y="0"/>
                  <a:pt x="232" y="15"/>
                  <a:pt x="307" y="103"/>
                </a:cubicBezTo>
                <a:lnTo>
                  <a:pt x="227" y="120"/>
                </a:lnTo>
                <a:cubicBezTo>
                  <a:pt x="156" y="89"/>
                  <a:pt x="79" y="71"/>
                  <a:pt x="0" y="68"/>
                </a:cubicBezTo>
                <a:close/>
              </a:path>
            </a:pathLst>
          </a:custGeom>
          <a:noFill/>
          <a:ln w="7938" cap="rnd">
            <a:solidFill>
              <a:srgbClr val="000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4" name="Rectangle 75">
            <a:extLst>
              <a:ext uri="{FF2B5EF4-FFF2-40B4-BE49-F238E27FC236}">
                <a16:creationId xmlns:a16="http://schemas.microsoft.com/office/drawing/2014/main" id="{BC95CB0B-3D1D-4B1B-8E12-2AB78CBA1752}"/>
              </a:ext>
            </a:extLst>
          </p:cNvPr>
          <p:cNvSpPr>
            <a:spLocks noChangeArrowheads="1"/>
          </p:cNvSpPr>
          <p:nvPr/>
        </p:nvSpPr>
        <p:spPr bwMode="auto">
          <a:xfrm>
            <a:off x="6127749" y="5147135"/>
            <a:ext cx="42863" cy="4763"/>
          </a:xfrm>
          <a:prstGeom prst="rect">
            <a:avLst/>
          </a:prstGeom>
          <a:solidFill>
            <a:srgbClr val="0000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76">
            <a:extLst>
              <a:ext uri="{FF2B5EF4-FFF2-40B4-BE49-F238E27FC236}">
                <a16:creationId xmlns:a16="http://schemas.microsoft.com/office/drawing/2014/main" id="{70016D70-0F87-4D4B-8F34-48DC4D6A5E12}"/>
              </a:ext>
            </a:extLst>
          </p:cNvPr>
          <p:cNvSpPr>
            <a:spLocks noChangeArrowheads="1"/>
          </p:cNvSpPr>
          <p:nvPr/>
        </p:nvSpPr>
        <p:spPr bwMode="auto">
          <a:xfrm>
            <a:off x="6127749" y="5151898"/>
            <a:ext cx="42863" cy="4763"/>
          </a:xfrm>
          <a:prstGeom prst="rect">
            <a:avLst/>
          </a:prstGeom>
          <a:solidFill>
            <a:srgbClr val="0000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77">
            <a:extLst>
              <a:ext uri="{FF2B5EF4-FFF2-40B4-BE49-F238E27FC236}">
                <a16:creationId xmlns:a16="http://schemas.microsoft.com/office/drawing/2014/main" id="{755B5AAF-DA8D-4C86-826F-F7D2A28C3ED1}"/>
              </a:ext>
            </a:extLst>
          </p:cNvPr>
          <p:cNvSpPr>
            <a:spLocks noChangeArrowheads="1"/>
          </p:cNvSpPr>
          <p:nvPr/>
        </p:nvSpPr>
        <p:spPr bwMode="auto">
          <a:xfrm>
            <a:off x="6127749" y="5156660"/>
            <a:ext cx="42863" cy="4763"/>
          </a:xfrm>
          <a:prstGeom prst="rect">
            <a:avLst/>
          </a:prstGeom>
          <a:solidFill>
            <a:srgbClr val="00009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78">
            <a:extLst>
              <a:ext uri="{FF2B5EF4-FFF2-40B4-BE49-F238E27FC236}">
                <a16:creationId xmlns:a16="http://schemas.microsoft.com/office/drawing/2014/main" id="{2FFB1CE0-2CBC-4A15-9839-85568D281897}"/>
              </a:ext>
            </a:extLst>
          </p:cNvPr>
          <p:cNvSpPr>
            <a:spLocks noChangeArrowheads="1"/>
          </p:cNvSpPr>
          <p:nvPr/>
        </p:nvSpPr>
        <p:spPr bwMode="auto">
          <a:xfrm>
            <a:off x="6127749" y="5161423"/>
            <a:ext cx="42863" cy="4763"/>
          </a:xfrm>
          <a:prstGeom prst="rect">
            <a:avLst/>
          </a:prstGeom>
          <a:solidFill>
            <a:srgbClr val="0000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79">
            <a:extLst>
              <a:ext uri="{FF2B5EF4-FFF2-40B4-BE49-F238E27FC236}">
                <a16:creationId xmlns:a16="http://schemas.microsoft.com/office/drawing/2014/main" id="{64A0A1F3-0824-44F2-9598-6EBA44876702}"/>
              </a:ext>
            </a:extLst>
          </p:cNvPr>
          <p:cNvSpPr>
            <a:spLocks noChangeArrowheads="1"/>
          </p:cNvSpPr>
          <p:nvPr/>
        </p:nvSpPr>
        <p:spPr bwMode="auto">
          <a:xfrm>
            <a:off x="6127749" y="5166185"/>
            <a:ext cx="42863" cy="4763"/>
          </a:xfrm>
          <a:prstGeom prst="rect">
            <a:avLst/>
          </a:prstGeom>
          <a:solidFill>
            <a:srgbClr val="0000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80">
            <a:extLst>
              <a:ext uri="{FF2B5EF4-FFF2-40B4-BE49-F238E27FC236}">
                <a16:creationId xmlns:a16="http://schemas.microsoft.com/office/drawing/2014/main" id="{ECE1185C-C634-487B-A2AB-8B29DE539D0B}"/>
              </a:ext>
            </a:extLst>
          </p:cNvPr>
          <p:cNvSpPr>
            <a:spLocks noChangeArrowheads="1"/>
          </p:cNvSpPr>
          <p:nvPr/>
        </p:nvSpPr>
        <p:spPr bwMode="auto">
          <a:xfrm>
            <a:off x="6127749" y="5170948"/>
            <a:ext cx="42863" cy="4763"/>
          </a:xfrm>
          <a:prstGeom prst="rect">
            <a:avLst/>
          </a:prstGeom>
          <a:solidFill>
            <a:srgbClr val="000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81">
            <a:extLst>
              <a:ext uri="{FF2B5EF4-FFF2-40B4-BE49-F238E27FC236}">
                <a16:creationId xmlns:a16="http://schemas.microsoft.com/office/drawing/2014/main" id="{2F99C102-BE99-42D0-9FFB-22079EDF1EC2}"/>
              </a:ext>
            </a:extLst>
          </p:cNvPr>
          <p:cNvSpPr>
            <a:spLocks noChangeArrowheads="1"/>
          </p:cNvSpPr>
          <p:nvPr/>
        </p:nvSpPr>
        <p:spPr bwMode="auto">
          <a:xfrm>
            <a:off x="6127749" y="5175710"/>
            <a:ext cx="42863" cy="4763"/>
          </a:xfrm>
          <a:prstGeom prst="rect">
            <a:avLst/>
          </a:prstGeom>
          <a:solidFill>
            <a:srgbClr val="0000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82">
            <a:extLst>
              <a:ext uri="{FF2B5EF4-FFF2-40B4-BE49-F238E27FC236}">
                <a16:creationId xmlns:a16="http://schemas.microsoft.com/office/drawing/2014/main" id="{E9E5B97D-85A4-46B9-996E-9D6176DBDAD3}"/>
              </a:ext>
            </a:extLst>
          </p:cNvPr>
          <p:cNvSpPr>
            <a:spLocks noChangeArrowheads="1"/>
          </p:cNvSpPr>
          <p:nvPr/>
        </p:nvSpPr>
        <p:spPr bwMode="auto">
          <a:xfrm>
            <a:off x="6127749" y="5180473"/>
            <a:ext cx="42863" cy="4763"/>
          </a:xfrm>
          <a:prstGeom prst="rect">
            <a:avLst/>
          </a:prstGeom>
          <a:solidFill>
            <a:srgbClr val="0000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83">
            <a:extLst>
              <a:ext uri="{FF2B5EF4-FFF2-40B4-BE49-F238E27FC236}">
                <a16:creationId xmlns:a16="http://schemas.microsoft.com/office/drawing/2014/main" id="{D4D4581C-8C05-4A77-8A6A-8CF7EBF405B3}"/>
              </a:ext>
            </a:extLst>
          </p:cNvPr>
          <p:cNvSpPr>
            <a:spLocks/>
          </p:cNvSpPr>
          <p:nvPr/>
        </p:nvSpPr>
        <p:spPr bwMode="auto">
          <a:xfrm>
            <a:off x="6129337" y="5150310"/>
            <a:ext cx="34925" cy="30163"/>
          </a:xfrm>
          <a:custGeom>
            <a:avLst/>
            <a:gdLst>
              <a:gd name="T0" fmla="*/ 3 w 22"/>
              <a:gd name="T1" fmla="*/ 15 h 19"/>
              <a:gd name="T2" fmla="*/ 9 w 22"/>
              <a:gd name="T3" fmla="*/ 2 h 19"/>
              <a:gd name="T4" fmla="*/ 22 w 22"/>
              <a:gd name="T5" fmla="*/ 5 h 19"/>
              <a:gd name="T6" fmla="*/ 6 w 22"/>
              <a:gd name="T7" fmla="*/ 19 h 19"/>
              <a:gd name="T8" fmla="*/ 3 w 22"/>
              <a:gd name="T9" fmla="*/ 15 h 19"/>
            </a:gdLst>
            <a:ahLst/>
            <a:cxnLst>
              <a:cxn ang="0">
                <a:pos x="T0" y="T1"/>
              </a:cxn>
              <a:cxn ang="0">
                <a:pos x="T2" y="T3"/>
              </a:cxn>
              <a:cxn ang="0">
                <a:pos x="T4" y="T5"/>
              </a:cxn>
              <a:cxn ang="0">
                <a:pos x="T6" y="T7"/>
              </a:cxn>
              <a:cxn ang="0">
                <a:pos x="T8" y="T9"/>
              </a:cxn>
            </a:cxnLst>
            <a:rect l="0" t="0" r="r" b="b"/>
            <a:pathLst>
              <a:path w="22" h="19">
                <a:moveTo>
                  <a:pt x="3" y="15"/>
                </a:moveTo>
                <a:cubicBezTo>
                  <a:pt x="0" y="9"/>
                  <a:pt x="3" y="4"/>
                  <a:pt x="9" y="2"/>
                </a:cubicBezTo>
                <a:cubicBezTo>
                  <a:pt x="14" y="0"/>
                  <a:pt x="19" y="1"/>
                  <a:pt x="22" y="5"/>
                </a:cubicBezTo>
                <a:cubicBezTo>
                  <a:pt x="17" y="11"/>
                  <a:pt x="12" y="15"/>
                  <a:pt x="6" y="19"/>
                </a:cubicBezTo>
                <a:cubicBezTo>
                  <a:pt x="4" y="18"/>
                  <a:pt x="3" y="16"/>
                  <a:pt x="3" y="15"/>
                </a:cubicBezTo>
              </a:path>
            </a:pathLst>
          </a:custGeom>
          <a:noFill/>
          <a:ln w="7938" cap="rnd">
            <a:solidFill>
              <a:srgbClr val="000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156" name="Picture 84">
            <a:extLst>
              <a:ext uri="{FF2B5EF4-FFF2-40B4-BE49-F238E27FC236}">
                <a16:creationId xmlns:a16="http://schemas.microsoft.com/office/drawing/2014/main" id="{BB79CA5C-B635-42CF-B7B8-A15D15185FC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84912" y="5151898"/>
            <a:ext cx="1524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57" name="Picture 85">
            <a:extLst>
              <a:ext uri="{FF2B5EF4-FFF2-40B4-BE49-F238E27FC236}">
                <a16:creationId xmlns:a16="http://schemas.microsoft.com/office/drawing/2014/main" id="{00CC73DD-AB52-411B-8D25-C2ED287FF59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84912" y="5151898"/>
            <a:ext cx="1524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 name="Freeform 86">
            <a:extLst>
              <a:ext uri="{FF2B5EF4-FFF2-40B4-BE49-F238E27FC236}">
                <a16:creationId xmlns:a16="http://schemas.microsoft.com/office/drawing/2014/main" id="{C40A8546-B3DB-44ED-B3FB-5F660A15768D}"/>
              </a:ext>
            </a:extLst>
          </p:cNvPr>
          <p:cNvSpPr>
            <a:spLocks/>
          </p:cNvSpPr>
          <p:nvPr/>
        </p:nvSpPr>
        <p:spPr bwMode="auto">
          <a:xfrm>
            <a:off x="6289674" y="5156660"/>
            <a:ext cx="146050" cy="150813"/>
          </a:xfrm>
          <a:custGeom>
            <a:avLst/>
            <a:gdLst>
              <a:gd name="T0" fmla="*/ 276 w 495"/>
              <a:gd name="T1" fmla="*/ 417 h 509"/>
              <a:gd name="T2" fmla="*/ 406 w 495"/>
              <a:gd name="T3" fmla="*/ 419 h 509"/>
              <a:gd name="T4" fmla="*/ 434 w 495"/>
              <a:gd name="T5" fmla="*/ 408 h 509"/>
              <a:gd name="T6" fmla="*/ 446 w 495"/>
              <a:gd name="T7" fmla="*/ 303 h 509"/>
              <a:gd name="T8" fmla="*/ 495 w 495"/>
              <a:gd name="T9" fmla="*/ 279 h 509"/>
              <a:gd name="T10" fmla="*/ 432 w 495"/>
              <a:gd name="T11" fmla="*/ 204 h 509"/>
              <a:gd name="T12" fmla="*/ 465 w 495"/>
              <a:gd name="T13" fmla="*/ 178 h 509"/>
              <a:gd name="T14" fmla="*/ 455 w 495"/>
              <a:gd name="T15" fmla="*/ 119 h 509"/>
              <a:gd name="T16" fmla="*/ 128 w 495"/>
              <a:gd name="T17" fmla="*/ 70 h 509"/>
              <a:gd name="T18" fmla="*/ 76 w 495"/>
              <a:gd name="T19" fmla="*/ 374 h 509"/>
              <a:gd name="T20" fmla="*/ 129 w 495"/>
              <a:gd name="T21" fmla="*/ 424 h 509"/>
              <a:gd name="T22" fmla="*/ 134 w 495"/>
              <a:gd name="T23" fmla="*/ 509 h 509"/>
              <a:gd name="T24" fmla="*/ 351 w 495"/>
              <a:gd name="T25" fmla="*/ 509 h 509"/>
              <a:gd name="T26" fmla="*/ 351 w 495"/>
              <a:gd name="T27" fmla="*/ 421 h 509"/>
              <a:gd name="T28" fmla="*/ 276 w 495"/>
              <a:gd name="T29" fmla="*/ 417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5" h="509">
                <a:moveTo>
                  <a:pt x="276" y="417"/>
                </a:moveTo>
                <a:lnTo>
                  <a:pt x="406" y="419"/>
                </a:lnTo>
                <a:lnTo>
                  <a:pt x="434" y="408"/>
                </a:lnTo>
                <a:lnTo>
                  <a:pt x="446" y="303"/>
                </a:lnTo>
                <a:cubicBezTo>
                  <a:pt x="463" y="295"/>
                  <a:pt x="479" y="287"/>
                  <a:pt x="495" y="279"/>
                </a:cubicBezTo>
                <a:lnTo>
                  <a:pt x="432" y="204"/>
                </a:lnTo>
                <a:cubicBezTo>
                  <a:pt x="438" y="192"/>
                  <a:pt x="450" y="182"/>
                  <a:pt x="465" y="178"/>
                </a:cubicBezTo>
                <a:lnTo>
                  <a:pt x="455" y="119"/>
                </a:lnTo>
                <a:cubicBezTo>
                  <a:pt x="379" y="21"/>
                  <a:pt x="233" y="0"/>
                  <a:pt x="128" y="70"/>
                </a:cubicBezTo>
                <a:cubicBezTo>
                  <a:pt x="23" y="141"/>
                  <a:pt x="0" y="277"/>
                  <a:pt x="76" y="374"/>
                </a:cubicBezTo>
                <a:cubicBezTo>
                  <a:pt x="91" y="393"/>
                  <a:pt x="109" y="410"/>
                  <a:pt x="129" y="424"/>
                </a:cubicBezTo>
                <a:lnTo>
                  <a:pt x="134" y="509"/>
                </a:lnTo>
                <a:lnTo>
                  <a:pt x="351" y="509"/>
                </a:lnTo>
                <a:lnTo>
                  <a:pt x="351" y="421"/>
                </a:lnTo>
                <a:lnTo>
                  <a:pt x="276" y="417"/>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Freeform 87">
            <a:extLst>
              <a:ext uri="{FF2B5EF4-FFF2-40B4-BE49-F238E27FC236}">
                <a16:creationId xmlns:a16="http://schemas.microsoft.com/office/drawing/2014/main" id="{66D38442-4DBF-41EE-A372-5FA215271D01}"/>
              </a:ext>
            </a:extLst>
          </p:cNvPr>
          <p:cNvSpPr>
            <a:spLocks/>
          </p:cNvSpPr>
          <p:nvPr/>
        </p:nvSpPr>
        <p:spPr bwMode="auto">
          <a:xfrm>
            <a:off x="6283324" y="5143960"/>
            <a:ext cx="146050" cy="139700"/>
          </a:xfrm>
          <a:custGeom>
            <a:avLst/>
            <a:gdLst>
              <a:gd name="T0" fmla="*/ 368 w 491"/>
              <a:gd name="T1" fmla="*/ 148 h 469"/>
              <a:gd name="T2" fmla="*/ 482 w 491"/>
              <a:gd name="T3" fmla="*/ 143 h 469"/>
              <a:gd name="T4" fmla="*/ 491 w 491"/>
              <a:gd name="T5" fmla="*/ 115 h 469"/>
              <a:gd name="T6" fmla="*/ 373 w 491"/>
              <a:gd name="T7" fmla="*/ 11 h 469"/>
              <a:gd name="T8" fmla="*/ 269 w 491"/>
              <a:gd name="T9" fmla="*/ 2 h 469"/>
              <a:gd name="T10" fmla="*/ 177 w 491"/>
              <a:gd name="T11" fmla="*/ 14 h 469"/>
              <a:gd name="T12" fmla="*/ 107 w 491"/>
              <a:gd name="T13" fmla="*/ 53 h 469"/>
              <a:gd name="T14" fmla="*/ 33 w 491"/>
              <a:gd name="T15" fmla="*/ 117 h 469"/>
              <a:gd name="T16" fmla="*/ 5 w 491"/>
              <a:gd name="T17" fmla="*/ 273 h 469"/>
              <a:gd name="T18" fmla="*/ 45 w 491"/>
              <a:gd name="T19" fmla="*/ 419 h 469"/>
              <a:gd name="T20" fmla="*/ 149 w 491"/>
              <a:gd name="T21" fmla="*/ 468 h 469"/>
              <a:gd name="T22" fmla="*/ 193 w 491"/>
              <a:gd name="T23" fmla="*/ 432 h 469"/>
              <a:gd name="T24" fmla="*/ 189 w 491"/>
              <a:gd name="T25" fmla="*/ 413 h 469"/>
              <a:gd name="T26" fmla="*/ 149 w 491"/>
              <a:gd name="T27" fmla="*/ 372 h 469"/>
              <a:gd name="T28" fmla="*/ 130 w 491"/>
              <a:gd name="T29" fmla="*/ 310 h 469"/>
              <a:gd name="T30" fmla="*/ 146 w 491"/>
              <a:gd name="T31" fmla="*/ 244 h 469"/>
              <a:gd name="T32" fmla="*/ 253 w 491"/>
              <a:gd name="T33" fmla="*/ 205 h 469"/>
              <a:gd name="T34" fmla="*/ 368 w 491"/>
              <a:gd name="T35" fmla="*/ 1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1" h="469">
                <a:moveTo>
                  <a:pt x="368" y="148"/>
                </a:moveTo>
                <a:cubicBezTo>
                  <a:pt x="405" y="161"/>
                  <a:pt x="446" y="159"/>
                  <a:pt x="482" y="143"/>
                </a:cubicBezTo>
                <a:cubicBezTo>
                  <a:pt x="486" y="134"/>
                  <a:pt x="489" y="124"/>
                  <a:pt x="491" y="115"/>
                </a:cubicBezTo>
                <a:cubicBezTo>
                  <a:pt x="465" y="69"/>
                  <a:pt x="424" y="33"/>
                  <a:pt x="373" y="11"/>
                </a:cubicBezTo>
                <a:cubicBezTo>
                  <a:pt x="339" y="4"/>
                  <a:pt x="304" y="0"/>
                  <a:pt x="269" y="2"/>
                </a:cubicBezTo>
                <a:cubicBezTo>
                  <a:pt x="238" y="0"/>
                  <a:pt x="207" y="4"/>
                  <a:pt x="177" y="14"/>
                </a:cubicBezTo>
                <a:cubicBezTo>
                  <a:pt x="153" y="26"/>
                  <a:pt x="130" y="39"/>
                  <a:pt x="107" y="53"/>
                </a:cubicBezTo>
                <a:cubicBezTo>
                  <a:pt x="77" y="69"/>
                  <a:pt x="52" y="90"/>
                  <a:pt x="33" y="117"/>
                </a:cubicBezTo>
                <a:cubicBezTo>
                  <a:pt x="12" y="167"/>
                  <a:pt x="3" y="220"/>
                  <a:pt x="5" y="273"/>
                </a:cubicBezTo>
                <a:cubicBezTo>
                  <a:pt x="0" y="325"/>
                  <a:pt x="14" y="376"/>
                  <a:pt x="45" y="419"/>
                </a:cubicBezTo>
                <a:cubicBezTo>
                  <a:pt x="74" y="444"/>
                  <a:pt x="110" y="461"/>
                  <a:pt x="149" y="468"/>
                </a:cubicBezTo>
                <a:cubicBezTo>
                  <a:pt x="172" y="469"/>
                  <a:pt x="191" y="453"/>
                  <a:pt x="193" y="432"/>
                </a:cubicBezTo>
                <a:cubicBezTo>
                  <a:pt x="193" y="425"/>
                  <a:pt x="192" y="419"/>
                  <a:pt x="189" y="413"/>
                </a:cubicBezTo>
                <a:lnTo>
                  <a:pt x="149" y="372"/>
                </a:lnTo>
                <a:lnTo>
                  <a:pt x="130" y="310"/>
                </a:lnTo>
                <a:cubicBezTo>
                  <a:pt x="122" y="287"/>
                  <a:pt x="129" y="262"/>
                  <a:pt x="146" y="244"/>
                </a:cubicBezTo>
                <a:cubicBezTo>
                  <a:pt x="187" y="252"/>
                  <a:pt x="229" y="236"/>
                  <a:pt x="253" y="205"/>
                </a:cubicBezTo>
                <a:cubicBezTo>
                  <a:pt x="300" y="209"/>
                  <a:pt x="346" y="186"/>
                  <a:pt x="368" y="148"/>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88">
            <a:extLst>
              <a:ext uri="{FF2B5EF4-FFF2-40B4-BE49-F238E27FC236}">
                <a16:creationId xmlns:a16="http://schemas.microsoft.com/office/drawing/2014/main" id="{CFF9EDBF-4CB8-407B-A3D6-FC552EA89384}"/>
              </a:ext>
            </a:extLst>
          </p:cNvPr>
          <p:cNvSpPr>
            <a:spLocks/>
          </p:cNvSpPr>
          <p:nvPr/>
        </p:nvSpPr>
        <p:spPr bwMode="auto">
          <a:xfrm>
            <a:off x="6283324" y="5143960"/>
            <a:ext cx="146050" cy="139700"/>
          </a:xfrm>
          <a:custGeom>
            <a:avLst/>
            <a:gdLst>
              <a:gd name="T0" fmla="*/ 368 w 491"/>
              <a:gd name="T1" fmla="*/ 148 h 469"/>
              <a:gd name="T2" fmla="*/ 482 w 491"/>
              <a:gd name="T3" fmla="*/ 143 h 469"/>
              <a:gd name="T4" fmla="*/ 491 w 491"/>
              <a:gd name="T5" fmla="*/ 115 h 469"/>
              <a:gd name="T6" fmla="*/ 373 w 491"/>
              <a:gd name="T7" fmla="*/ 11 h 469"/>
              <a:gd name="T8" fmla="*/ 269 w 491"/>
              <a:gd name="T9" fmla="*/ 2 h 469"/>
              <a:gd name="T10" fmla="*/ 177 w 491"/>
              <a:gd name="T11" fmla="*/ 14 h 469"/>
              <a:gd name="T12" fmla="*/ 107 w 491"/>
              <a:gd name="T13" fmla="*/ 53 h 469"/>
              <a:gd name="T14" fmla="*/ 33 w 491"/>
              <a:gd name="T15" fmla="*/ 117 h 469"/>
              <a:gd name="T16" fmla="*/ 5 w 491"/>
              <a:gd name="T17" fmla="*/ 273 h 469"/>
              <a:gd name="T18" fmla="*/ 45 w 491"/>
              <a:gd name="T19" fmla="*/ 419 h 469"/>
              <a:gd name="T20" fmla="*/ 149 w 491"/>
              <a:gd name="T21" fmla="*/ 468 h 469"/>
              <a:gd name="T22" fmla="*/ 193 w 491"/>
              <a:gd name="T23" fmla="*/ 432 h 469"/>
              <a:gd name="T24" fmla="*/ 189 w 491"/>
              <a:gd name="T25" fmla="*/ 413 h 469"/>
              <a:gd name="T26" fmla="*/ 149 w 491"/>
              <a:gd name="T27" fmla="*/ 372 h 469"/>
              <a:gd name="T28" fmla="*/ 130 w 491"/>
              <a:gd name="T29" fmla="*/ 310 h 469"/>
              <a:gd name="T30" fmla="*/ 146 w 491"/>
              <a:gd name="T31" fmla="*/ 244 h 469"/>
              <a:gd name="T32" fmla="*/ 253 w 491"/>
              <a:gd name="T33" fmla="*/ 205 h 469"/>
              <a:gd name="T34" fmla="*/ 368 w 491"/>
              <a:gd name="T35" fmla="*/ 1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1" h="469">
                <a:moveTo>
                  <a:pt x="368" y="148"/>
                </a:moveTo>
                <a:cubicBezTo>
                  <a:pt x="405" y="161"/>
                  <a:pt x="446" y="159"/>
                  <a:pt x="482" y="143"/>
                </a:cubicBezTo>
                <a:cubicBezTo>
                  <a:pt x="486" y="134"/>
                  <a:pt x="489" y="124"/>
                  <a:pt x="491" y="115"/>
                </a:cubicBezTo>
                <a:cubicBezTo>
                  <a:pt x="465" y="69"/>
                  <a:pt x="424" y="33"/>
                  <a:pt x="373" y="11"/>
                </a:cubicBezTo>
                <a:cubicBezTo>
                  <a:pt x="339" y="4"/>
                  <a:pt x="304" y="0"/>
                  <a:pt x="269" y="2"/>
                </a:cubicBezTo>
                <a:cubicBezTo>
                  <a:pt x="238" y="0"/>
                  <a:pt x="207" y="4"/>
                  <a:pt x="177" y="14"/>
                </a:cubicBezTo>
                <a:cubicBezTo>
                  <a:pt x="153" y="26"/>
                  <a:pt x="130" y="39"/>
                  <a:pt x="107" y="53"/>
                </a:cubicBezTo>
                <a:cubicBezTo>
                  <a:pt x="77" y="69"/>
                  <a:pt x="52" y="90"/>
                  <a:pt x="33" y="117"/>
                </a:cubicBezTo>
                <a:cubicBezTo>
                  <a:pt x="12" y="167"/>
                  <a:pt x="3" y="220"/>
                  <a:pt x="5" y="273"/>
                </a:cubicBezTo>
                <a:cubicBezTo>
                  <a:pt x="0" y="325"/>
                  <a:pt x="14" y="376"/>
                  <a:pt x="45" y="419"/>
                </a:cubicBezTo>
                <a:cubicBezTo>
                  <a:pt x="74" y="444"/>
                  <a:pt x="110" y="461"/>
                  <a:pt x="149" y="468"/>
                </a:cubicBezTo>
                <a:cubicBezTo>
                  <a:pt x="172" y="469"/>
                  <a:pt x="191" y="453"/>
                  <a:pt x="193" y="432"/>
                </a:cubicBezTo>
                <a:cubicBezTo>
                  <a:pt x="193" y="425"/>
                  <a:pt x="192" y="419"/>
                  <a:pt x="189" y="413"/>
                </a:cubicBezTo>
                <a:lnTo>
                  <a:pt x="149" y="372"/>
                </a:lnTo>
                <a:lnTo>
                  <a:pt x="130" y="310"/>
                </a:lnTo>
                <a:cubicBezTo>
                  <a:pt x="122" y="287"/>
                  <a:pt x="129" y="262"/>
                  <a:pt x="146" y="244"/>
                </a:cubicBezTo>
                <a:cubicBezTo>
                  <a:pt x="187" y="252"/>
                  <a:pt x="229" y="236"/>
                  <a:pt x="253" y="205"/>
                </a:cubicBezTo>
                <a:cubicBezTo>
                  <a:pt x="300" y="209"/>
                  <a:pt x="346" y="186"/>
                  <a:pt x="368" y="148"/>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6" name="Freeform 89">
            <a:extLst>
              <a:ext uri="{FF2B5EF4-FFF2-40B4-BE49-F238E27FC236}">
                <a16:creationId xmlns:a16="http://schemas.microsoft.com/office/drawing/2014/main" id="{F93844E4-ED63-4249-8574-6F58DC31D845}"/>
              </a:ext>
            </a:extLst>
          </p:cNvPr>
          <p:cNvSpPr>
            <a:spLocks/>
          </p:cNvSpPr>
          <p:nvPr/>
        </p:nvSpPr>
        <p:spPr bwMode="auto">
          <a:xfrm>
            <a:off x="6397624" y="5212223"/>
            <a:ext cx="11113" cy="9525"/>
          </a:xfrm>
          <a:custGeom>
            <a:avLst/>
            <a:gdLst>
              <a:gd name="T0" fmla="*/ 0 w 40"/>
              <a:gd name="T1" fmla="*/ 17 h 35"/>
              <a:gd name="T2" fmla="*/ 38 w 40"/>
              <a:gd name="T3" fmla="*/ 0 h 35"/>
              <a:gd name="T4" fmla="*/ 40 w 40"/>
              <a:gd name="T5" fmla="*/ 35 h 35"/>
              <a:gd name="T6" fmla="*/ 0 w 40"/>
              <a:gd name="T7" fmla="*/ 17 h 35"/>
            </a:gdLst>
            <a:ahLst/>
            <a:cxnLst>
              <a:cxn ang="0">
                <a:pos x="T0" y="T1"/>
              </a:cxn>
              <a:cxn ang="0">
                <a:pos x="T2" y="T3"/>
              </a:cxn>
              <a:cxn ang="0">
                <a:pos x="T4" y="T5"/>
              </a:cxn>
              <a:cxn ang="0">
                <a:pos x="T6" y="T7"/>
              </a:cxn>
            </a:cxnLst>
            <a:rect l="0" t="0" r="r" b="b"/>
            <a:pathLst>
              <a:path w="40" h="35">
                <a:moveTo>
                  <a:pt x="0" y="17"/>
                </a:moveTo>
                <a:cubicBezTo>
                  <a:pt x="11" y="8"/>
                  <a:pt x="24" y="2"/>
                  <a:pt x="38" y="0"/>
                </a:cubicBezTo>
                <a:lnTo>
                  <a:pt x="40" y="35"/>
                </a:lnTo>
                <a:lnTo>
                  <a:pt x="0" y="17"/>
                </a:lnTo>
                <a:close/>
              </a:path>
            </a:pathLst>
          </a:custGeom>
          <a:solidFill>
            <a:srgbClr val="0000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3162" name="Picture 90">
            <a:extLst>
              <a:ext uri="{FF2B5EF4-FFF2-40B4-BE49-F238E27FC236}">
                <a16:creationId xmlns:a16="http://schemas.microsoft.com/office/drawing/2014/main" id="{AA1319C4-A673-452D-BF08-D4760C8A733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299199" y="5285248"/>
            <a:ext cx="100013" cy="42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7" name="Freeform 91">
            <a:extLst>
              <a:ext uri="{FF2B5EF4-FFF2-40B4-BE49-F238E27FC236}">
                <a16:creationId xmlns:a16="http://schemas.microsoft.com/office/drawing/2014/main" id="{B947A2E6-6052-4AA3-B3FC-C6B4F874A7BB}"/>
              </a:ext>
            </a:extLst>
          </p:cNvPr>
          <p:cNvSpPr>
            <a:spLocks/>
          </p:cNvSpPr>
          <p:nvPr/>
        </p:nvSpPr>
        <p:spPr bwMode="auto">
          <a:xfrm>
            <a:off x="6300787" y="5288423"/>
            <a:ext cx="92075" cy="34925"/>
          </a:xfrm>
          <a:custGeom>
            <a:avLst/>
            <a:gdLst>
              <a:gd name="T0" fmla="*/ 0 w 307"/>
              <a:gd name="T1" fmla="*/ 67 h 120"/>
              <a:gd name="T2" fmla="*/ 307 w 307"/>
              <a:gd name="T3" fmla="*/ 103 h 120"/>
              <a:gd name="T4" fmla="*/ 227 w 307"/>
              <a:gd name="T5" fmla="*/ 120 h 120"/>
              <a:gd name="T6" fmla="*/ 0 w 307"/>
              <a:gd name="T7" fmla="*/ 67 h 120"/>
            </a:gdLst>
            <a:ahLst/>
            <a:cxnLst>
              <a:cxn ang="0">
                <a:pos x="T0" y="T1"/>
              </a:cxn>
              <a:cxn ang="0">
                <a:pos x="T2" y="T3"/>
              </a:cxn>
              <a:cxn ang="0">
                <a:pos x="T4" y="T5"/>
              </a:cxn>
              <a:cxn ang="0">
                <a:pos x="T6" y="T7"/>
              </a:cxn>
            </a:cxnLst>
            <a:rect l="0" t="0" r="r" b="b"/>
            <a:pathLst>
              <a:path w="307" h="120">
                <a:moveTo>
                  <a:pt x="0" y="67"/>
                </a:moveTo>
                <a:cubicBezTo>
                  <a:pt x="96" y="0"/>
                  <a:pt x="232" y="15"/>
                  <a:pt x="307" y="103"/>
                </a:cubicBezTo>
                <a:lnTo>
                  <a:pt x="227" y="120"/>
                </a:lnTo>
                <a:cubicBezTo>
                  <a:pt x="156" y="89"/>
                  <a:pt x="79" y="71"/>
                  <a:pt x="0" y="67"/>
                </a:cubicBezTo>
                <a:close/>
              </a:path>
            </a:pathLst>
          </a:custGeom>
          <a:noFill/>
          <a:ln w="7938" cap="rnd">
            <a:solidFill>
              <a:srgbClr val="000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8" name="Rectangle 92">
            <a:extLst>
              <a:ext uri="{FF2B5EF4-FFF2-40B4-BE49-F238E27FC236}">
                <a16:creationId xmlns:a16="http://schemas.microsoft.com/office/drawing/2014/main" id="{3D3F1AF1-0D2F-41D5-8EF7-34F391DDF502}"/>
              </a:ext>
            </a:extLst>
          </p:cNvPr>
          <p:cNvSpPr>
            <a:spLocks noChangeArrowheads="1"/>
          </p:cNvSpPr>
          <p:nvPr/>
        </p:nvSpPr>
        <p:spPr bwMode="auto">
          <a:xfrm>
            <a:off x="6380162" y="5285248"/>
            <a:ext cx="38100" cy="4763"/>
          </a:xfrm>
          <a:prstGeom prst="rect">
            <a:avLst/>
          </a:prstGeom>
          <a:solidFill>
            <a:srgbClr val="0000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Rectangle 93">
            <a:extLst>
              <a:ext uri="{FF2B5EF4-FFF2-40B4-BE49-F238E27FC236}">
                <a16:creationId xmlns:a16="http://schemas.microsoft.com/office/drawing/2014/main" id="{13F18045-C2F9-4667-A9B6-4361055FC838}"/>
              </a:ext>
            </a:extLst>
          </p:cNvPr>
          <p:cNvSpPr>
            <a:spLocks noChangeArrowheads="1"/>
          </p:cNvSpPr>
          <p:nvPr/>
        </p:nvSpPr>
        <p:spPr bwMode="auto">
          <a:xfrm>
            <a:off x="6380162" y="5290010"/>
            <a:ext cx="38100" cy="4763"/>
          </a:xfrm>
          <a:prstGeom prst="rect">
            <a:avLst/>
          </a:prstGeom>
          <a:solidFill>
            <a:srgbClr val="0000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Rectangle 94">
            <a:extLst>
              <a:ext uri="{FF2B5EF4-FFF2-40B4-BE49-F238E27FC236}">
                <a16:creationId xmlns:a16="http://schemas.microsoft.com/office/drawing/2014/main" id="{B536101B-769D-4918-A072-B2F8B5B42789}"/>
              </a:ext>
            </a:extLst>
          </p:cNvPr>
          <p:cNvSpPr>
            <a:spLocks noChangeArrowheads="1"/>
          </p:cNvSpPr>
          <p:nvPr/>
        </p:nvSpPr>
        <p:spPr bwMode="auto">
          <a:xfrm>
            <a:off x="6380162" y="5294773"/>
            <a:ext cx="38100" cy="4763"/>
          </a:xfrm>
          <a:prstGeom prst="rect">
            <a:avLst/>
          </a:prstGeom>
          <a:solidFill>
            <a:srgbClr val="00009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95">
            <a:extLst>
              <a:ext uri="{FF2B5EF4-FFF2-40B4-BE49-F238E27FC236}">
                <a16:creationId xmlns:a16="http://schemas.microsoft.com/office/drawing/2014/main" id="{74472D7F-C04C-4C3A-B047-AEBB85174799}"/>
              </a:ext>
            </a:extLst>
          </p:cNvPr>
          <p:cNvSpPr>
            <a:spLocks noChangeArrowheads="1"/>
          </p:cNvSpPr>
          <p:nvPr/>
        </p:nvSpPr>
        <p:spPr bwMode="auto">
          <a:xfrm>
            <a:off x="6380162" y="5299535"/>
            <a:ext cx="38100" cy="4763"/>
          </a:xfrm>
          <a:prstGeom prst="rect">
            <a:avLst/>
          </a:prstGeom>
          <a:solidFill>
            <a:srgbClr val="0000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Rectangle 96">
            <a:extLst>
              <a:ext uri="{FF2B5EF4-FFF2-40B4-BE49-F238E27FC236}">
                <a16:creationId xmlns:a16="http://schemas.microsoft.com/office/drawing/2014/main" id="{F221D9FB-991E-476B-AD0C-F52529B4D261}"/>
              </a:ext>
            </a:extLst>
          </p:cNvPr>
          <p:cNvSpPr>
            <a:spLocks noChangeArrowheads="1"/>
          </p:cNvSpPr>
          <p:nvPr/>
        </p:nvSpPr>
        <p:spPr bwMode="auto">
          <a:xfrm>
            <a:off x="6380162" y="5304298"/>
            <a:ext cx="38100" cy="4763"/>
          </a:xfrm>
          <a:prstGeom prst="rect">
            <a:avLst/>
          </a:prstGeom>
          <a:solidFill>
            <a:srgbClr val="0000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Rectangle 97">
            <a:extLst>
              <a:ext uri="{FF2B5EF4-FFF2-40B4-BE49-F238E27FC236}">
                <a16:creationId xmlns:a16="http://schemas.microsoft.com/office/drawing/2014/main" id="{BFA94029-B98B-42B9-B282-35BD2066F946}"/>
              </a:ext>
            </a:extLst>
          </p:cNvPr>
          <p:cNvSpPr>
            <a:spLocks noChangeArrowheads="1"/>
          </p:cNvSpPr>
          <p:nvPr/>
        </p:nvSpPr>
        <p:spPr bwMode="auto">
          <a:xfrm>
            <a:off x="6380162" y="5309060"/>
            <a:ext cx="38100" cy="4763"/>
          </a:xfrm>
          <a:prstGeom prst="rect">
            <a:avLst/>
          </a:prstGeom>
          <a:solidFill>
            <a:srgbClr val="0000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98">
            <a:extLst>
              <a:ext uri="{FF2B5EF4-FFF2-40B4-BE49-F238E27FC236}">
                <a16:creationId xmlns:a16="http://schemas.microsoft.com/office/drawing/2014/main" id="{EA4ADE8E-6D30-4DC3-9A70-66072A1C0390}"/>
              </a:ext>
            </a:extLst>
          </p:cNvPr>
          <p:cNvSpPr>
            <a:spLocks noChangeArrowheads="1"/>
          </p:cNvSpPr>
          <p:nvPr/>
        </p:nvSpPr>
        <p:spPr bwMode="auto">
          <a:xfrm>
            <a:off x="6380162" y="5313823"/>
            <a:ext cx="38100" cy="4763"/>
          </a:xfrm>
          <a:prstGeom prst="rect">
            <a:avLst/>
          </a:prstGeom>
          <a:solidFill>
            <a:srgbClr val="0000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99">
            <a:extLst>
              <a:ext uri="{FF2B5EF4-FFF2-40B4-BE49-F238E27FC236}">
                <a16:creationId xmlns:a16="http://schemas.microsoft.com/office/drawing/2014/main" id="{D43FC273-4358-4F9C-B92B-99C760A995D5}"/>
              </a:ext>
            </a:extLst>
          </p:cNvPr>
          <p:cNvSpPr>
            <a:spLocks noChangeArrowheads="1"/>
          </p:cNvSpPr>
          <p:nvPr/>
        </p:nvSpPr>
        <p:spPr bwMode="auto">
          <a:xfrm>
            <a:off x="6380162" y="5318585"/>
            <a:ext cx="38100" cy="4763"/>
          </a:xfrm>
          <a:prstGeom prst="rect">
            <a:avLst/>
          </a:prstGeom>
          <a:solidFill>
            <a:srgbClr val="0000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00">
            <a:extLst>
              <a:ext uri="{FF2B5EF4-FFF2-40B4-BE49-F238E27FC236}">
                <a16:creationId xmlns:a16="http://schemas.microsoft.com/office/drawing/2014/main" id="{D23E8F94-2F21-4CB9-A08A-789958A7AA5B}"/>
              </a:ext>
            </a:extLst>
          </p:cNvPr>
          <p:cNvSpPr>
            <a:spLocks/>
          </p:cNvSpPr>
          <p:nvPr/>
        </p:nvSpPr>
        <p:spPr bwMode="auto">
          <a:xfrm>
            <a:off x="6383337" y="5290010"/>
            <a:ext cx="33338" cy="30163"/>
          </a:xfrm>
          <a:custGeom>
            <a:avLst/>
            <a:gdLst>
              <a:gd name="T0" fmla="*/ 2 w 21"/>
              <a:gd name="T1" fmla="*/ 14 h 19"/>
              <a:gd name="T2" fmla="*/ 9 w 21"/>
              <a:gd name="T3" fmla="*/ 1 h 19"/>
              <a:gd name="T4" fmla="*/ 21 w 21"/>
              <a:gd name="T5" fmla="*/ 5 h 19"/>
              <a:gd name="T6" fmla="*/ 5 w 21"/>
              <a:gd name="T7" fmla="*/ 19 h 19"/>
              <a:gd name="T8" fmla="*/ 2 w 21"/>
              <a:gd name="T9" fmla="*/ 14 h 19"/>
            </a:gdLst>
            <a:ahLst/>
            <a:cxnLst>
              <a:cxn ang="0">
                <a:pos x="T0" y="T1"/>
              </a:cxn>
              <a:cxn ang="0">
                <a:pos x="T2" y="T3"/>
              </a:cxn>
              <a:cxn ang="0">
                <a:pos x="T4" y="T5"/>
              </a:cxn>
              <a:cxn ang="0">
                <a:pos x="T6" y="T7"/>
              </a:cxn>
              <a:cxn ang="0">
                <a:pos x="T8" y="T9"/>
              </a:cxn>
            </a:cxnLst>
            <a:rect l="0" t="0" r="r" b="b"/>
            <a:pathLst>
              <a:path w="21" h="19">
                <a:moveTo>
                  <a:pt x="2" y="14"/>
                </a:moveTo>
                <a:cubicBezTo>
                  <a:pt x="0" y="9"/>
                  <a:pt x="3" y="3"/>
                  <a:pt x="9" y="1"/>
                </a:cubicBezTo>
                <a:cubicBezTo>
                  <a:pt x="13" y="0"/>
                  <a:pt x="18" y="1"/>
                  <a:pt x="21" y="5"/>
                </a:cubicBezTo>
                <a:cubicBezTo>
                  <a:pt x="17" y="10"/>
                  <a:pt x="11" y="15"/>
                  <a:pt x="5" y="19"/>
                </a:cubicBezTo>
                <a:cubicBezTo>
                  <a:pt x="3" y="18"/>
                  <a:pt x="2" y="16"/>
                  <a:pt x="2" y="14"/>
                </a:cubicBezTo>
              </a:path>
            </a:pathLst>
          </a:custGeom>
          <a:noFill/>
          <a:ln w="7938" cap="rnd">
            <a:solidFill>
              <a:srgbClr val="000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7" name="Freeform 101">
            <a:extLst>
              <a:ext uri="{FF2B5EF4-FFF2-40B4-BE49-F238E27FC236}">
                <a16:creationId xmlns:a16="http://schemas.microsoft.com/office/drawing/2014/main" id="{D8783EAE-350D-4806-B6CB-5C180E6D0F33}"/>
              </a:ext>
            </a:extLst>
          </p:cNvPr>
          <p:cNvSpPr>
            <a:spLocks noEditPoints="1"/>
          </p:cNvSpPr>
          <p:nvPr/>
        </p:nvSpPr>
        <p:spPr bwMode="auto">
          <a:xfrm>
            <a:off x="10518775" y="4667251"/>
            <a:ext cx="9525" cy="420688"/>
          </a:xfrm>
          <a:custGeom>
            <a:avLst/>
            <a:gdLst>
              <a:gd name="T0" fmla="*/ 32 w 32"/>
              <a:gd name="T1" fmla="*/ 16 h 1408"/>
              <a:gd name="T2" fmla="*/ 32 w 32"/>
              <a:gd name="T3" fmla="*/ 240 h 1408"/>
              <a:gd name="T4" fmla="*/ 16 w 32"/>
              <a:gd name="T5" fmla="*/ 256 h 1408"/>
              <a:gd name="T6" fmla="*/ 0 w 32"/>
              <a:gd name="T7" fmla="*/ 240 h 1408"/>
              <a:gd name="T8" fmla="*/ 0 w 32"/>
              <a:gd name="T9" fmla="*/ 16 h 1408"/>
              <a:gd name="T10" fmla="*/ 16 w 32"/>
              <a:gd name="T11" fmla="*/ 0 h 1408"/>
              <a:gd name="T12" fmla="*/ 32 w 32"/>
              <a:gd name="T13" fmla="*/ 16 h 1408"/>
              <a:gd name="T14" fmla="*/ 32 w 32"/>
              <a:gd name="T15" fmla="*/ 400 h 1408"/>
              <a:gd name="T16" fmla="*/ 32 w 32"/>
              <a:gd name="T17" fmla="*/ 624 h 1408"/>
              <a:gd name="T18" fmla="*/ 16 w 32"/>
              <a:gd name="T19" fmla="*/ 640 h 1408"/>
              <a:gd name="T20" fmla="*/ 0 w 32"/>
              <a:gd name="T21" fmla="*/ 624 h 1408"/>
              <a:gd name="T22" fmla="*/ 0 w 32"/>
              <a:gd name="T23" fmla="*/ 400 h 1408"/>
              <a:gd name="T24" fmla="*/ 16 w 32"/>
              <a:gd name="T25" fmla="*/ 384 h 1408"/>
              <a:gd name="T26" fmla="*/ 32 w 32"/>
              <a:gd name="T27" fmla="*/ 400 h 1408"/>
              <a:gd name="T28" fmla="*/ 32 w 32"/>
              <a:gd name="T29" fmla="*/ 784 h 1408"/>
              <a:gd name="T30" fmla="*/ 32 w 32"/>
              <a:gd name="T31" fmla="*/ 1008 h 1408"/>
              <a:gd name="T32" fmla="*/ 16 w 32"/>
              <a:gd name="T33" fmla="*/ 1024 h 1408"/>
              <a:gd name="T34" fmla="*/ 0 w 32"/>
              <a:gd name="T35" fmla="*/ 1008 h 1408"/>
              <a:gd name="T36" fmla="*/ 0 w 32"/>
              <a:gd name="T37" fmla="*/ 784 h 1408"/>
              <a:gd name="T38" fmla="*/ 16 w 32"/>
              <a:gd name="T39" fmla="*/ 768 h 1408"/>
              <a:gd name="T40" fmla="*/ 32 w 32"/>
              <a:gd name="T41" fmla="*/ 784 h 1408"/>
              <a:gd name="T42" fmla="*/ 32 w 32"/>
              <a:gd name="T43" fmla="*/ 1168 h 1408"/>
              <a:gd name="T44" fmla="*/ 32 w 32"/>
              <a:gd name="T45" fmla="*/ 1392 h 1408"/>
              <a:gd name="T46" fmla="*/ 16 w 32"/>
              <a:gd name="T47" fmla="*/ 1408 h 1408"/>
              <a:gd name="T48" fmla="*/ 0 w 32"/>
              <a:gd name="T49" fmla="*/ 1392 h 1408"/>
              <a:gd name="T50" fmla="*/ 0 w 32"/>
              <a:gd name="T51" fmla="*/ 1168 h 1408"/>
              <a:gd name="T52" fmla="*/ 16 w 32"/>
              <a:gd name="T53" fmla="*/ 1152 h 1408"/>
              <a:gd name="T54" fmla="*/ 32 w 32"/>
              <a:gd name="T55" fmla="*/ 1168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 h="1408">
                <a:moveTo>
                  <a:pt x="32" y="16"/>
                </a:moveTo>
                <a:lnTo>
                  <a:pt x="32" y="240"/>
                </a:lnTo>
                <a:cubicBezTo>
                  <a:pt x="32" y="249"/>
                  <a:pt x="24" y="256"/>
                  <a:pt x="16" y="256"/>
                </a:cubicBezTo>
                <a:cubicBezTo>
                  <a:pt x="7" y="256"/>
                  <a:pt x="0" y="249"/>
                  <a:pt x="0" y="240"/>
                </a:cubicBezTo>
                <a:lnTo>
                  <a:pt x="0" y="16"/>
                </a:lnTo>
                <a:cubicBezTo>
                  <a:pt x="0" y="7"/>
                  <a:pt x="7" y="0"/>
                  <a:pt x="16" y="0"/>
                </a:cubicBezTo>
                <a:cubicBezTo>
                  <a:pt x="24" y="0"/>
                  <a:pt x="32" y="7"/>
                  <a:pt x="32" y="16"/>
                </a:cubicBezTo>
                <a:close/>
                <a:moveTo>
                  <a:pt x="32" y="400"/>
                </a:moveTo>
                <a:lnTo>
                  <a:pt x="32" y="624"/>
                </a:lnTo>
                <a:cubicBezTo>
                  <a:pt x="32" y="633"/>
                  <a:pt x="24" y="640"/>
                  <a:pt x="16" y="640"/>
                </a:cubicBezTo>
                <a:cubicBezTo>
                  <a:pt x="7" y="640"/>
                  <a:pt x="0" y="633"/>
                  <a:pt x="0" y="624"/>
                </a:cubicBezTo>
                <a:lnTo>
                  <a:pt x="0" y="400"/>
                </a:lnTo>
                <a:cubicBezTo>
                  <a:pt x="0" y="391"/>
                  <a:pt x="7" y="384"/>
                  <a:pt x="16" y="384"/>
                </a:cubicBezTo>
                <a:cubicBezTo>
                  <a:pt x="24" y="384"/>
                  <a:pt x="32" y="391"/>
                  <a:pt x="32" y="400"/>
                </a:cubicBezTo>
                <a:close/>
                <a:moveTo>
                  <a:pt x="32" y="784"/>
                </a:moveTo>
                <a:lnTo>
                  <a:pt x="32" y="1008"/>
                </a:lnTo>
                <a:cubicBezTo>
                  <a:pt x="32" y="1017"/>
                  <a:pt x="24" y="1024"/>
                  <a:pt x="16" y="1024"/>
                </a:cubicBezTo>
                <a:cubicBezTo>
                  <a:pt x="7" y="1024"/>
                  <a:pt x="0" y="1017"/>
                  <a:pt x="0" y="1008"/>
                </a:cubicBezTo>
                <a:lnTo>
                  <a:pt x="0" y="784"/>
                </a:lnTo>
                <a:cubicBezTo>
                  <a:pt x="0" y="775"/>
                  <a:pt x="7" y="768"/>
                  <a:pt x="16" y="768"/>
                </a:cubicBezTo>
                <a:cubicBezTo>
                  <a:pt x="24" y="768"/>
                  <a:pt x="32" y="775"/>
                  <a:pt x="32" y="784"/>
                </a:cubicBezTo>
                <a:close/>
                <a:moveTo>
                  <a:pt x="32" y="1168"/>
                </a:moveTo>
                <a:lnTo>
                  <a:pt x="32" y="1392"/>
                </a:lnTo>
                <a:cubicBezTo>
                  <a:pt x="32" y="1401"/>
                  <a:pt x="24" y="1408"/>
                  <a:pt x="16" y="1408"/>
                </a:cubicBezTo>
                <a:cubicBezTo>
                  <a:pt x="7" y="1408"/>
                  <a:pt x="0" y="1401"/>
                  <a:pt x="0" y="1392"/>
                </a:cubicBezTo>
                <a:lnTo>
                  <a:pt x="0" y="1168"/>
                </a:lnTo>
                <a:cubicBezTo>
                  <a:pt x="0" y="1159"/>
                  <a:pt x="7" y="1152"/>
                  <a:pt x="16" y="1152"/>
                </a:cubicBezTo>
                <a:cubicBezTo>
                  <a:pt x="24" y="1152"/>
                  <a:pt x="32" y="1159"/>
                  <a:pt x="32" y="1168"/>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103">
            <a:extLst>
              <a:ext uri="{FF2B5EF4-FFF2-40B4-BE49-F238E27FC236}">
                <a16:creationId xmlns:a16="http://schemas.microsoft.com/office/drawing/2014/main" id="{E241E2AB-70FB-42F4-A91D-D914601D1320}"/>
              </a:ext>
            </a:extLst>
          </p:cNvPr>
          <p:cNvSpPr>
            <a:spLocks noEditPoints="1"/>
          </p:cNvSpPr>
          <p:nvPr/>
        </p:nvSpPr>
        <p:spPr bwMode="auto">
          <a:xfrm>
            <a:off x="10633075" y="4787901"/>
            <a:ext cx="9525" cy="419100"/>
          </a:xfrm>
          <a:custGeom>
            <a:avLst/>
            <a:gdLst>
              <a:gd name="T0" fmla="*/ 32 w 32"/>
              <a:gd name="T1" fmla="*/ 16 h 1408"/>
              <a:gd name="T2" fmla="*/ 32 w 32"/>
              <a:gd name="T3" fmla="*/ 240 h 1408"/>
              <a:gd name="T4" fmla="*/ 16 w 32"/>
              <a:gd name="T5" fmla="*/ 256 h 1408"/>
              <a:gd name="T6" fmla="*/ 0 w 32"/>
              <a:gd name="T7" fmla="*/ 240 h 1408"/>
              <a:gd name="T8" fmla="*/ 0 w 32"/>
              <a:gd name="T9" fmla="*/ 16 h 1408"/>
              <a:gd name="T10" fmla="*/ 16 w 32"/>
              <a:gd name="T11" fmla="*/ 0 h 1408"/>
              <a:gd name="T12" fmla="*/ 32 w 32"/>
              <a:gd name="T13" fmla="*/ 16 h 1408"/>
              <a:gd name="T14" fmla="*/ 32 w 32"/>
              <a:gd name="T15" fmla="*/ 400 h 1408"/>
              <a:gd name="T16" fmla="*/ 32 w 32"/>
              <a:gd name="T17" fmla="*/ 624 h 1408"/>
              <a:gd name="T18" fmla="*/ 16 w 32"/>
              <a:gd name="T19" fmla="*/ 640 h 1408"/>
              <a:gd name="T20" fmla="*/ 0 w 32"/>
              <a:gd name="T21" fmla="*/ 624 h 1408"/>
              <a:gd name="T22" fmla="*/ 0 w 32"/>
              <a:gd name="T23" fmla="*/ 400 h 1408"/>
              <a:gd name="T24" fmla="*/ 16 w 32"/>
              <a:gd name="T25" fmla="*/ 384 h 1408"/>
              <a:gd name="T26" fmla="*/ 32 w 32"/>
              <a:gd name="T27" fmla="*/ 400 h 1408"/>
              <a:gd name="T28" fmla="*/ 32 w 32"/>
              <a:gd name="T29" fmla="*/ 784 h 1408"/>
              <a:gd name="T30" fmla="*/ 32 w 32"/>
              <a:gd name="T31" fmla="*/ 1008 h 1408"/>
              <a:gd name="T32" fmla="*/ 16 w 32"/>
              <a:gd name="T33" fmla="*/ 1024 h 1408"/>
              <a:gd name="T34" fmla="*/ 0 w 32"/>
              <a:gd name="T35" fmla="*/ 1008 h 1408"/>
              <a:gd name="T36" fmla="*/ 0 w 32"/>
              <a:gd name="T37" fmla="*/ 784 h 1408"/>
              <a:gd name="T38" fmla="*/ 16 w 32"/>
              <a:gd name="T39" fmla="*/ 768 h 1408"/>
              <a:gd name="T40" fmla="*/ 32 w 32"/>
              <a:gd name="T41" fmla="*/ 784 h 1408"/>
              <a:gd name="T42" fmla="*/ 32 w 32"/>
              <a:gd name="T43" fmla="*/ 1168 h 1408"/>
              <a:gd name="T44" fmla="*/ 32 w 32"/>
              <a:gd name="T45" fmla="*/ 1392 h 1408"/>
              <a:gd name="T46" fmla="*/ 16 w 32"/>
              <a:gd name="T47" fmla="*/ 1408 h 1408"/>
              <a:gd name="T48" fmla="*/ 0 w 32"/>
              <a:gd name="T49" fmla="*/ 1392 h 1408"/>
              <a:gd name="T50" fmla="*/ 0 w 32"/>
              <a:gd name="T51" fmla="*/ 1168 h 1408"/>
              <a:gd name="T52" fmla="*/ 16 w 32"/>
              <a:gd name="T53" fmla="*/ 1152 h 1408"/>
              <a:gd name="T54" fmla="*/ 32 w 32"/>
              <a:gd name="T55" fmla="*/ 1168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 h="1408">
                <a:moveTo>
                  <a:pt x="32" y="16"/>
                </a:moveTo>
                <a:lnTo>
                  <a:pt x="32" y="240"/>
                </a:lnTo>
                <a:cubicBezTo>
                  <a:pt x="32" y="249"/>
                  <a:pt x="24" y="256"/>
                  <a:pt x="16" y="256"/>
                </a:cubicBezTo>
                <a:cubicBezTo>
                  <a:pt x="7" y="256"/>
                  <a:pt x="0" y="249"/>
                  <a:pt x="0" y="240"/>
                </a:cubicBezTo>
                <a:lnTo>
                  <a:pt x="0" y="16"/>
                </a:lnTo>
                <a:cubicBezTo>
                  <a:pt x="0" y="8"/>
                  <a:pt x="7" y="0"/>
                  <a:pt x="16" y="0"/>
                </a:cubicBezTo>
                <a:cubicBezTo>
                  <a:pt x="24" y="0"/>
                  <a:pt x="32" y="8"/>
                  <a:pt x="32" y="16"/>
                </a:cubicBezTo>
                <a:close/>
                <a:moveTo>
                  <a:pt x="32" y="400"/>
                </a:moveTo>
                <a:lnTo>
                  <a:pt x="32" y="624"/>
                </a:lnTo>
                <a:cubicBezTo>
                  <a:pt x="32" y="633"/>
                  <a:pt x="24" y="640"/>
                  <a:pt x="16" y="640"/>
                </a:cubicBezTo>
                <a:cubicBezTo>
                  <a:pt x="7" y="640"/>
                  <a:pt x="0" y="633"/>
                  <a:pt x="0" y="624"/>
                </a:cubicBezTo>
                <a:lnTo>
                  <a:pt x="0" y="400"/>
                </a:lnTo>
                <a:cubicBezTo>
                  <a:pt x="0" y="392"/>
                  <a:pt x="7" y="384"/>
                  <a:pt x="16" y="384"/>
                </a:cubicBezTo>
                <a:cubicBezTo>
                  <a:pt x="24" y="384"/>
                  <a:pt x="32" y="392"/>
                  <a:pt x="32" y="400"/>
                </a:cubicBezTo>
                <a:close/>
                <a:moveTo>
                  <a:pt x="32" y="784"/>
                </a:moveTo>
                <a:lnTo>
                  <a:pt x="32" y="1008"/>
                </a:lnTo>
                <a:cubicBezTo>
                  <a:pt x="32" y="1017"/>
                  <a:pt x="24" y="1024"/>
                  <a:pt x="16" y="1024"/>
                </a:cubicBezTo>
                <a:cubicBezTo>
                  <a:pt x="7" y="1024"/>
                  <a:pt x="0" y="1017"/>
                  <a:pt x="0" y="1008"/>
                </a:cubicBezTo>
                <a:lnTo>
                  <a:pt x="0" y="784"/>
                </a:lnTo>
                <a:cubicBezTo>
                  <a:pt x="0" y="776"/>
                  <a:pt x="7" y="768"/>
                  <a:pt x="16" y="768"/>
                </a:cubicBezTo>
                <a:cubicBezTo>
                  <a:pt x="24" y="768"/>
                  <a:pt x="32" y="776"/>
                  <a:pt x="32" y="784"/>
                </a:cubicBezTo>
                <a:close/>
                <a:moveTo>
                  <a:pt x="32" y="1168"/>
                </a:moveTo>
                <a:lnTo>
                  <a:pt x="32" y="1392"/>
                </a:lnTo>
                <a:cubicBezTo>
                  <a:pt x="32" y="1401"/>
                  <a:pt x="24" y="1408"/>
                  <a:pt x="16" y="1408"/>
                </a:cubicBezTo>
                <a:cubicBezTo>
                  <a:pt x="7" y="1408"/>
                  <a:pt x="0" y="1401"/>
                  <a:pt x="0" y="1392"/>
                </a:cubicBezTo>
                <a:lnTo>
                  <a:pt x="0" y="1168"/>
                </a:lnTo>
                <a:cubicBezTo>
                  <a:pt x="0" y="1160"/>
                  <a:pt x="7" y="1152"/>
                  <a:pt x="16" y="1152"/>
                </a:cubicBezTo>
                <a:cubicBezTo>
                  <a:pt x="24" y="1152"/>
                  <a:pt x="32" y="1160"/>
                  <a:pt x="32" y="1168"/>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104">
            <a:extLst>
              <a:ext uri="{FF2B5EF4-FFF2-40B4-BE49-F238E27FC236}">
                <a16:creationId xmlns:a16="http://schemas.microsoft.com/office/drawing/2014/main" id="{5F5C8C48-9A61-43AB-9758-BB55C7A059B7}"/>
              </a:ext>
            </a:extLst>
          </p:cNvPr>
          <p:cNvSpPr>
            <a:spLocks/>
          </p:cNvSpPr>
          <p:nvPr/>
        </p:nvSpPr>
        <p:spPr bwMode="auto">
          <a:xfrm>
            <a:off x="10596563" y="4729163"/>
            <a:ext cx="84138" cy="84138"/>
          </a:xfrm>
          <a:custGeom>
            <a:avLst/>
            <a:gdLst>
              <a:gd name="T0" fmla="*/ 140 w 279"/>
              <a:gd name="T1" fmla="*/ 0 h 279"/>
              <a:gd name="T2" fmla="*/ 279 w 279"/>
              <a:gd name="T3" fmla="*/ 279 h 279"/>
              <a:gd name="T4" fmla="*/ 0 w 279"/>
              <a:gd name="T5" fmla="*/ 279 h 279"/>
              <a:gd name="T6" fmla="*/ 140 w 279"/>
              <a:gd name="T7" fmla="*/ 0 h 279"/>
            </a:gdLst>
            <a:ahLst/>
            <a:cxnLst>
              <a:cxn ang="0">
                <a:pos x="T0" y="T1"/>
              </a:cxn>
              <a:cxn ang="0">
                <a:pos x="T2" y="T3"/>
              </a:cxn>
              <a:cxn ang="0">
                <a:pos x="T4" y="T5"/>
              </a:cxn>
              <a:cxn ang="0">
                <a:pos x="T6" y="T7"/>
              </a:cxn>
            </a:cxnLst>
            <a:rect l="0" t="0" r="r" b="b"/>
            <a:pathLst>
              <a:path w="279" h="279">
                <a:moveTo>
                  <a:pt x="140" y="0"/>
                </a:moveTo>
                <a:lnTo>
                  <a:pt x="279" y="279"/>
                </a:lnTo>
                <a:cubicBezTo>
                  <a:pt x="191" y="235"/>
                  <a:pt x="88" y="235"/>
                  <a:pt x="0" y="279"/>
                </a:cubicBezTo>
                <a:lnTo>
                  <a:pt x="140"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105">
            <a:extLst>
              <a:ext uri="{FF2B5EF4-FFF2-40B4-BE49-F238E27FC236}">
                <a16:creationId xmlns:a16="http://schemas.microsoft.com/office/drawing/2014/main" id="{BA0D1A25-3EE2-4D5A-95D0-800248579F39}"/>
              </a:ext>
            </a:extLst>
          </p:cNvPr>
          <p:cNvSpPr>
            <a:spLocks noEditPoints="1"/>
          </p:cNvSpPr>
          <p:nvPr/>
        </p:nvSpPr>
        <p:spPr bwMode="auto">
          <a:xfrm>
            <a:off x="10518775" y="5640388"/>
            <a:ext cx="9525" cy="420688"/>
          </a:xfrm>
          <a:custGeom>
            <a:avLst/>
            <a:gdLst>
              <a:gd name="T0" fmla="*/ 32 w 32"/>
              <a:gd name="T1" fmla="*/ 16 h 1408"/>
              <a:gd name="T2" fmla="*/ 32 w 32"/>
              <a:gd name="T3" fmla="*/ 240 h 1408"/>
              <a:gd name="T4" fmla="*/ 16 w 32"/>
              <a:gd name="T5" fmla="*/ 256 h 1408"/>
              <a:gd name="T6" fmla="*/ 0 w 32"/>
              <a:gd name="T7" fmla="*/ 240 h 1408"/>
              <a:gd name="T8" fmla="*/ 0 w 32"/>
              <a:gd name="T9" fmla="*/ 16 h 1408"/>
              <a:gd name="T10" fmla="*/ 16 w 32"/>
              <a:gd name="T11" fmla="*/ 0 h 1408"/>
              <a:gd name="T12" fmla="*/ 32 w 32"/>
              <a:gd name="T13" fmla="*/ 16 h 1408"/>
              <a:gd name="T14" fmla="*/ 32 w 32"/>
              <a:gd name="T15" fmla="*/ 400 h 1408"/>
              <a:gd name="T16" fmla="*/ 32 w 32"/>
              <a:gd name="T17" fmla="*/ 624 h 1408"/>
              <a:gd name="T18" fmla="*/ 16 w 32"/>
              <a:gd name="T19" fmla="*/ 640 h 1408"/>
              <a:gd name="T20" fmla="*/ 0 w 32"/>
              <a:gd name="T21" fmla="*/ 624 h 1408"/>
              <a:gd name="T22" fmla="*/ 0 w 32"/>
              <a:gd name="T23" fmla="*/ 400 h 1408"/>
              <a:gd name="T24" fmla="*/ 16 w 32"/>
              <a:gd name="T25" fmla="*/ 384 h 1408"/>
              <a:gd name="T26" fmla="*/ 32 w 32"/>
              <a:gd name="T27" fmla="*/ 400 h 1408"/>
              <a:gd name="T28" fmla="*/ 32 w 32"/>
              <a:gd name="T29" fmla="*/ 784 h 1408"/>
              <a:gd name="T30" fmla="*/ 32 w 32"/>
              <a:gd name="T31" fmla="*/ 1008 h 1408"/>
              <a:gd name="T32" fmla="*/ 16 w 32"/>
              <a:gd name="T33" fmla="*/ 1024 h 1408"/>
              <a:gd name="T34" fmla="*/ 0 w 32"/>
              <a:gd name="T35" fmla="*/ 1008 h 1408"/>
              <a:gd name="T36" fmla="*/ 0 w 32"/>
              <a:gd name="T37" fmla="*/ 784 h 1408"/>
              <a:gd name="T38" fmla="*/ 16 w 32"/>
              <a:gd name="T39" fmla="*/ 768 h 1408"/>
              <a:gd name="T40" fmla="*/ 32 w 32"/>
              <a:gd name="T41" fmla="*/ 784 h 1408"/>
              <a:gd name="T42" fmla="*/ 32 w 32"/>
              <a:gd name="T43" fmla="*/ 1168 h 1408"/>
              <a:gd name="T44" fmla="*/ 32 w 32"/>
              <a:gd name="T45" fmla="*/ 1392 h 1408"/>
              <a:gd name="T46" fmla="*/ 16 w 32"/>
              <a:gd name="T47" fmla="*/ 1408 h 1408"/>
              <a:gd name="T48" fmla="*/ 0 w 32"/>
              <a:gd name="T49" fmla="*/ 1392 h 1408"/>
              <a:gd name="T50" fmla="*/ 0 w 32"/>
              <a:gd name="T51" fmla="*/ 1168 h 1408"/>
              <a:gd name="T52" fmla="*/ 16 w 32"/>
              <a:gd name="T53" fmla="*/ 1152 h 1408"/>
              <a:gd name="T54" fmla="*/ 32 w 32"/>
              <a:gd name="T55" fmla="*/ 1168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 h="1408">
                <a:moveTo>
                  <a:pt x="32" y="16"/>
                </a:moveTo>
                <a:lnTo>
                  <a:pt x="32" y="240"/>
                </a:lnTo>
                <a:cubicBezTo>
                  <a:pt x="32" y="249"/>
                  <a:pt x="24" y="256"/>
                  <a:pt x="16" y="256"/>
                </a:cubicBezTo>
                <a:cubicBezTo>
                  <a:pt x="7" y="256"/>
                  <a:pt x="0" y="249"/>
                  <a:pt x="0" y="240"/>
                </a:cubicBezTo>
                <a:lnTo>
                  <a:pt x="0" y="16"/>
                </a:lnTo>
                <a:cubicBezTo>
                  <a:pt x="0" y="7"/>
                  <a:pt x="7" y="0"/>
                  <a:pt x="16" y="0"/>
                </a:cubicBezTo>
                <a:cubicBezTo>
                  <a:pt x="24" y="0"/>
                  <a:pt x="32" y="7"/>
                  <a:pt x="32" y="16"/>
                </a:cubicBezTo>
                <a:close/>
                <a:moveTo>
                  <a:pt x="32" y="400"/>
                </a:moveTo>
                <a:lnTo>
                  <a:pt x="32" y="624"/>
                </a:lnTo>
                <a:cubicBezTo>
                  <a:pt x="32" y="633"/>
                  <a:pt x="24" y="640"/>
                  <a:pt x="16" y="640"/>
                </a:cubicBezTo>
                <a:cubicBezTo>
                  <a:pt x="7" y="640"/>
                  <a:pt x="0" y="633"/>
                  <a:pt x="0" y="624"/>
                </a:cubicBezTo>
                <a:lnTo>
                  <a:pt x="0" y="400"/>
                </a:lnTo>
                <a:cubicBezTo>
                  <a:pt x="0" y="391"/>
                  <a:pt x="7" y="384"/>
                  <a:pt x="16" y="384"/>
                </a:cubicBezTo>
                <a:cubicBezTo>
                  <a:pt x="24" y="384"/>
                  <a:pt x="32" y="391"/>
                  <a:pt x="32" y="400"/>
                </a:cubicBezTo>
                <a:close/>
                <a:moveTo>
                  <a:pt x="32" y="784"/>
                </a:moveTo>
                <a:lnTo>
                  <a:pt x="32" y="1008"/>
                </a:lnTo>
                <a:cubicBezTo>
                  <a:pt x="32" y="1017"/>
                  <a:pt x="24" y="1024"/>
                  <a:pt x="16" y="1024"/>
                </a:cubicBezTo>
                <a:cubicBezTo>
                  <a:pt x="7" y="1024"/>
                  <a:pt x="0" y="1017"/>
                  <a:pt x="0" y="1008"/>
                </a:cubicBezTo>
                <a:lnTo>
                  <a:pt x="0" y="784"/>
                </a:lnTo>
                <a:cubicBezTo>
                  <a:pt x="0" y="775"/>
                  <a:pt x="7" y="768"/>
                  <a:pt x="16" y="768"/>
                </a:cubicBezTo>
                <a:cubicBezTo>
                  <a:pt x="24" y="768"/>
                  <a:pt x="32" y="775"/>
                  <a:pt x="32" y="784"/>
                </a:cubicBezTo>
                <a:close/>
                <a:moveTo>
                  <a:pt x="32" y="1168"/>
                </a:moveTo>
                <a:lnTo>
                  <a:pt x="32" y="1392"/>
                </a:lnTo>
                <a:cubicBezTo>
                  <a:pt x="32" y="1401"/>
                  <a:pt x="24" y="1408"/>
                  <a:pt x="16" y="1408"/>
                </a:cubicBezTo>
                <a:cubicBezTo>
                  <a:pt x="7" y="1408"/>
                  <a:pt x="0" y="1401"/>
                  <a:pt x="0" y="1392"/>
                </a:cubicBezTo>
                <a:lnTo>
                  <a:pt x="0" y="1168"/>
                </a:lnTo>
                <a:cubicBezTo>
                  <a:pt x="0" y="1159"/>
                  <a:pt x="7" y="1152"/>
                  <a:pt x="16" y="1152"/>
                </a:cubicBezTo>
                <a:cubicBezTo>
                  <a:pt x="24" y="1152"/>
                  <a:pt x="32" y="1159"/>
                  <a:pt x="32" y="1168"/>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106">
            <a:extLst>
              <a:ext uri="{FF2B5EF4-FFF2-40B4-BE49-F238E27FC236}">
                <a16:creationId xmlns:a16="http://schemas.microsoft.com/office/drawing/2014/main" id="{2FCB1622-5A65-47F6-8B68-9AB13EA1368B}"/>
              </a:ext>
            </a:extLst>
          </p:cNvPr>
          <p:cNvSpPr>
            <a:spLocks/>
          </p:cNvSpPr>
          <p:nvPr/>
        </p:nvSpPr>
        <p:spPr bwMode="auto">
          <a:xfrm>
            <a:off x="10482263" y="6078538"/>
            <a:ext cx="82550" cy="82550"/>
          </a:xfrm>
          <a:custGeom>
            <a:avLst/>
            <a:gdLst>
              <a:gd name="T0" fmla="*/ 140 w 279"/>
              <a:gd name="T1" fmla="*/ 279 h 279"/>
              <a:gd name="T2" fmla="*/ 0 w 279"/>
              <a:gd name="T3" fmla="*/ 0 h 279"/>
              <a:gd name="T4" fmla="*/ 279 w 279"/>
              <a:gd name="T5" fmla="*/ 0 h 279"/>
              <a:gd name="T6" fmla="*/ 140 w 279"/>
              <a:gd name="T7" fmla="*/ 279 h 279"/>
            </a:gdLst>
            <a:ahLst/>
            <a:cxnLst>
              <a:cxn ang="0">
                <a:pos x="T0" y="T1"/>
              </a:cxn>
              <a:cxn ang="0">
                <a:pos x="T2" y="T3"/>
              </a:cxn>
              <a:cxn ang="0">
                <a:pos x="T4" y="T5"/>
              </a:cxn>
              <a:cxn ang="0">
                <a:pos x="T6" y="T7"/>
              </a:cxn>
            </a:cxnLst>
            <a:rect l="0" t="0" r="r" b="b"/>
            <a:pathLst>
              <a:path w="279" h="279">
                <a:moveTo>
                  <a:pt x="140" y="279"/>
                </a:moveTo>
                <a:lnTo>
                  <a:pt x="0" y="0"/>
                </a:lnTo>
                <a:cubicBezTo>
                  <a:pt x="88" y="44"/>
                  <a:pt x="191" y="44"/>
                  <a:pt x="279" y="0"/>
                </a:cubicBezTo>
                <a:lnTo>
                  <a:pt x="140" y="27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107">
            <a:extLst>
              <a:ext uri="{FF2B5EF4-FFF2-40B4-BE49-F238E27FC236}">
                <a16:creationId xmlns:a16="http://schemas.microsoft.com/office/drawing/2014/main" id="{0175F181-CB1F-49E7-8539-685283363066}"/>
              </a:ext>
            </a:extLst>
          </p:cNvPr>
          <p:cNvSpPr>
            <a:spLocks noEditPoints="1"/>
          </p:cNvSpPr>
          <p:nvPr/>
        </p:nvSpPr>
        <p:spPr bwMode="auto">
          <a:xfrm>
            <a:off x="10633075" y="5761038"/>
            <a:ext cx="9525" cy="419100"/>
          </a:xfrm>
          <a:custGeom>
            <a:avLst/>
            <a:gdLst>
              <a:gd name="T0" fmla="*/ 32 w 32"/>
              <a:gd name="T1" fmla="*/ 16 h 1408"/>
              <a:gd name="T2" fmla="*/ 32 w 32"/>
              <a:gd name="T3" fmla="*/ 240 h 1408"/>
              <a:gd name="T4" fmla="*/ 16 w 32"/>
              <a:gd name="T5" fmla="*/ 256 h 1408"/>
              <a:gd name="T6" fmla="*/ 0 w 32"/>
              <a:gd name="T7" fmla="*/ 240 h 1408"/>
              <a:gd name="T8" fmla="*/ 0 w 32"/>
              <a:gd name="T9" fmla="*/ 16 h 1408"/>
              <a:gd name="T10" fmla="*/ 16 w 32"/>
              <a:gd name="T11" fmla="*/ 0 h 1408"/>
              <a:gd name="T12" fmla="*/ 32 w 32"/>
              <a:gd name="T13" fmla="*/ 16 h 1408"/>
              <a:gd name="T14" fmla="*/ 32 w 32"/>
              <a:gd name="T15" fmla="*/ 400 h 1408"/>
              <a:gd name="T16" fmla="*/ 32 w 32"/>
              <a:gd name="T17" fmla="*/ 624 h 1408"/>
              <a:gd name="T18" fmla="*/ 16 w 32"/>
              <a:gd name="T19" fmla="*/ 640 h 1408"/>
              <a:gd name="T20" fmla="*/ 0 w 32"/>
              <a:gd name="T21" fmla="*/ 624 h 1408"/>
              <a:gd name="T22" fmla="*/ 0 w 32"/>
              <a:gd name="T23" fmla="*/ 400 h 1408"/>
              <a:gd name="T24" fmla="*/ 16 w 32"/>
              <a:gd name="T25" fmla="*/ 384 h 1408"/>
              <a:gd name="T26" fmla="*/ 32 w 32"/>
              <a:gd name="T27" fmla="*/ 400 h 1408"/>
              <a:gd name="T28" fmla="*/ 32 w 32"/>
              <a:gd name="T29" fmla="*/ 784 h 1408"/>
              <a:gd name="T30" fmla="*/ 32 w 32"/>
              <a:gd name="T31" fmla="*/ 1008 h 1408"/>
              <a:gd name="T32" fmla="*/ 16 w 32"/>
              <a:gd name="T33" fmla="*/ 1024 h 1408"/>
              <a:gd name="T34" fmla="*/ 0 w 32"/>
              <a:gd name="T35" fmla="*/ 1008 h 1408"/>
              <a:gd name="T36" fmla="*/ 0 w 32"/>
              <a:gd name="T37" fmla="*/ 784 h 1408"/>
              <a:gd name="T38" fmla="*/ 16 w 32"/>
              <a:gd name="T39" fmla="*/ 768 h 1408"/>
              <a:gd name="T40" fmla="*/ 32 w 32"/>
              <a:gd name="T41" fmla="*/ 784 h 1408"/>
              <a:gd name="T42" fmla="*/ 32 w 32"/>
              <a:gd name="T43" fmla="*/ 1168 h 1408"/>
              <a:gd name="T44" fmla="*/ 32 w 32"/>
              <a:gd name="T45" fmla="*/ 1392 h 1408"/>
              <a:gd name="T46" fmla="*/ 16 w 32"/>
              <a:gd name="T47" fmla="*/ 1408 h 1408"/>
              <a:gd name="T48" fmla="*/ 0 w 32"/>
              <a:gd name="T49" fmla="*/ 1392 h 1408"/>
              <a:gd name="T50" fmla="*/ 0 w 32"/>
              <a:gd name="T51" fmla="*/ 1168 h 1408"/>
              <a:gd name="T52" fmla="*/ 16 w 32"/>
              <a:gd name="T53" fmla="*/ 1152 h 1408"/>
              <a:gd name="T54" fmla="*/ 32 w 32"/>
              <a:gd name="T55" fmla="*/ 1168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 h="1408">
                <a:moveTo>
                  <a:pt x="32" y="16"/>
                </a:moveTo>
                <a:lnTo>
                  <a:pt x="32" y="240"/>
                </a:lnTo>
                <a:cubicBezTo>
                  <a:pt x="32" y="249"/>
                  <a:pt x="24" y="256"/>
                  <a:pt x="16" y="256"/>
                </a:cubicBezTo>
                <a:cubicBezTo>
                  <a:pt x="7" y="256"/>
                  <a:pt x="0" y="249"/>
                  <a:pt x="0" y="240"/>
                </a:cubicBezTo>
                <a:lnTo>
                  <a:pt x="0" y="16"/>
                </a:lnTo>
                <a:cubicBezTo>
                  <a:pt x="0" y="8"/>
                  <a:pt x="7" y="0"/>
                  <a:pt x="16" y="0"/>
                </a:cubicBezTo>
                <a:cubicBezTo>
                  <a:pt x="24" y="0"/>
                  <a:pt x="32" y="8"/>
                  <a:pt x="32" y="16"/>
                </a:cubicBezTo>
                <a:close/>
                <a:moveTo>
                  <a:pt x="32" y="400"/>
                </a:moveTo>
                <a:lnTo>
                  <a:pt x="32" y="624"/>
                </a:lnTo>
                <a:cubicBezTo>
                  <a:pt x="32" y="633"/>
                  <a:pt x="24" y="640"/>
                  <a:pt x="16" y="640"/>
                </a:cubicBezTo>
                <a:cubicBezTo>
                  <a:pt x="7" y="640"/>
                  <a:pt x="0" y="633"/>
                  <a:pt x="0" y="624"/>
                </a:cubicBezTo>
                <a:lnTo>
                  <a:pt x="0" y="400"/>
                </a:lnTo>
                <a:cubicBezTo>
                  <a:pt x="0" y="392"/>
                  <a:pt x="7" y="384"/>
                  <a:pt x="16" y="384"/>
                </a:cubicBezTo>
                <a:cubicBezTo>
                  <a:pt x="24" y="384"/>
                  <a:pt x="32" y="392"/>
                  <a:pt x="32" y="400"/>
                </a:cubicBezTo>
                <a:close/>
                <a:moveTo>
                  <a:pt x="32" y="784"/>
                </a:moveTo>
                <a:lnTo>
                  <a:pt x="32" y="1008"/>
                </a:lnTo>
                <a:cubicBezTo>
                  <a:pt x="32" y="1017"/>
                  <a:pt x="24" y="1024"/>
                  <a:pt x="16" y="1024"/>
                </a:cubicBezTo>
                <a:cubicBezTo>
                  <a:pt x="7" y="1024"/>
                  <a:pt x="0" y="1017"/>
                  <a:pt x="0" y="1008"/>
                </a:cubicBezTo>
                <a:lnTo>
                  <a:pt x="0" y="784"/>
                </a:lnTo>
                <a:cubicBezTo>
                  <a:pt x="0" y="776"/>
                  <a:pt x="7" y="768"/>
                  <a:pt x="16" y="768"/>
                </a:cubicBezTo>
                <a:cubicBezTo>
                  <a:pt x="24" y="768"/>
                  <a:pt x="32" y="776"/>
                  <a:pt x="32" y="784"/>
                </a:cubicBezTo>
                <a:close/>
                <a:moveTo>
                  <a:pt x="32" y="1168"/>
                </a:moveTo>
                <a:lnTo>
                  <a:pt x="32" y="1392"/>
                </a:lnTo>
                <a:cubicBezTo>
                  <a:pt x="32" y="1401"/>
                  <a:pt x="24" y="1408"/>
                  <a:pt x="16" y="1408"/>
                </a:cubicBezTo>
                <a:cubicBezTo>
                  <a:pt x="7" y="1408"/>
                  <a:pt x="0" y="1401"/>
                  <a:pt x="0" y="1392"/>
                </a:cubicBezTo>
                <a:lnTo>
                  <a:pt x="0" y="1168"/>
                </a:lnTo>
                <a:cubicBezTo>
                  <a:pt x="0" y="1160"/>
                  <a:pt x="7" y="1152"/>
                  <a:pt x="16" y="1152"/>
                </a:cubicBezTo>
                <a:cubicBezTo>
                  <a:pt x="24" y="1152"/>
                  <a:pt x="32" y="1160"/>
                  <a:pt x="32" y="1168"/>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108">
            <a:extLst>
              <a:ext uri="{FF2B5EF4-FFF2-40B4-BE49-F238E27FC236}">
                <a16:creationId xmlns:a16="http://schemas.microsoft.com/office/drawing/2014/main" id="{7905FDD9-D4B9-47AC-9729-41BE337FED31}"/>
              </a:ext>
            </a:extLst>
          </p:cNvPr>
          <p:cNvSpPr>
            <a:spLocks/>
          </p:cNvSpPr>
          <p:nvPr/>
        </p:nvSpPr>
        <p:spPr bwMode="auto">
          <a:xfrm>
            <a:off x="10596563" y="5702301"/>
            <a:ext cx="84138" cy="84138"/>
          </a:xfrm>
          <a:custGeom>
            <a:avLst/>
            <a:gdLst>
              <a:gd name="T0" fmla="*/ 140 w 279"/>
              <a:gd name="T1" fmla="*/ 0 h 279"/>
              <a:gd name="T2" fmla="*/ 279 w 279"/>
              <a:gd name="T3" fmla="*/ 279 h 279"/>
              <a:gd name="T4" fmla="*/ 0 w 279"/>
              <a:gd name="T5" fmla="*/ 279 h 279"/>
              <a:gd name="T6" fmla="*/ 140 w 279"/>
              <a:gd name="T7" fmla="*/ 0 h 279"/>
            </a:gdLst>
            <a:ahLst/>
            <a:cxnLst>
              <a:cxn ang="0">
                <a:pos x="T0" y="T1"/>
              </a:cxn>
              <a:cxn ang="0">
                <a:pos x="T2" y="T3"/>
              </a:cxn>
              <a:cxn ang="0">
                <a:pos x="T4" y="T5"/>
              </a:cxn>
              <a:cxn ang="0">
                <a:pos x="T6" y="T7"/>
              </a:cxn>
            </a:cxnLst>
            <a:rect l="0" t="0" r="r" b="b"/>
            <a:pathLst>
              <a:path w="279" h="279">
                <a:moveTo>
                  <a:pt x="140" y="0"/>
                </a:moveTo>
                <a:lnTo>
                  <a:pt x="279" y="279"/>
                </a:lnTo>
                <a:cubicBezTo>
                  <a:pt x="191" y="235"/>
                  <a:pt x="88" y="235"/>
                  <a:pt x="0" y="279"/>
                </a:cubicBezTo>
                <a:lnTo>
                  <a:pt x="140"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cxnSp>
        <p:nvCxnSpPr>
          <p:cNvPr id="5" name="Straight Arrow Connector 4">
            <a:extLst>
              <a:ext uri="{FF2B5EF4-FFF2-40B4-BE49-F238E27FC236}">
                <a16:creationId xmlns:a16="http://schemas.microsoft.com/office/drawing/2014/main" id="{5C5E8C02-7595-4A4B-B912-59B34E80A960}"/>
              </a:ext>
            </a:extLst>
          </p:cNvPr>
          <p:cNvCxnSpPr>
            <a:cxnSpLocks/>
          </p:cNvCxnSpPr>
          <p:nvPr/>
        </p:nvCxnSpPr>
        <p:spPr>
          <a:xfrm>
            <a:off x="7061650" y="4645719"/>
            <a:ext cx="3332" cy="489729"/>
          </a:xfrm>
          <a:prstGeom prst="straightConnector1">
            <a:avLst/>
          </a:prstGeom>
          <a:ln w="31750">
            <a:solidFill>
              <a:schemeClr val="accent6"/>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CD170D11-D648-4855-B278-49CADCE5E12B}"/>
              </a:ext>
            </a:extLst>
          </p:cNvPr>
          <p:cNvCxnSpPr>
            <a:cxnSpLocks/>
          </p:cNvCxnSpPr>
          <p:nvPr/>
        </p:nvCxnSpPr>
        <p:spPr>
          <a:xfrm flipV="1">
            <a:off x="7622238" y="5611934"/>
            <a:ext cx="3332" cy="489729"/>
          </a:xfrm>
          <a:prstGeom prst="straightConnector1">
            <a:avLst/>
          </a:prstGeom>
          <a:ln w="31750">
            <a:solidFill>
              <a:schemeClr val="accent6"/>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8CFB300D-06DC-4B60-9BD3-6A7B362A997E}"/>
              </a:ext>
            </a:extLst>
          </p:cNvPr>
          <p:cNvSpPr txBox="1"/>
          <p:nvPr/>
        </p:nvSpPr>
        <p:spPr>
          <a:xfrm rot="16200000">
            <a:off x="-3215421" y="3228948"/>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Information Governance </a:t>
            </a:r>
            <a:r>
              <a:rPr kumimoji="0" lang="en-US" sz="2000" b="0" i="0" u="none" strike="noStrike" kern="1200" cap="none" spc="0" normalizeH="0" baseline="0" noProof="0" dirty="0">
                <a:ln>
                  <a:noFill/>
                </a:ln>
                <a:solidFill>
                  <a:srgbClr val="FFFFFF"/>
                </a:solidFill>
                <a:effectLst/>
                <a:uLnTx/>
                <a:uFillTx/>
                <a:latin typeface="Segoe UI"/>
                <a:ea typeface="+mn-ea"/>
                <a:cs typeface="+mn-cs"/>
              </a:rPr>
              <a:t>– Project</a:t>
            </a:r>
          </a:p>
        </p:txBody>
      </p:sp>
      <p:sp>
        <p:nvSpPr>
          <p:cNvPr id="6" name="Rectangle 13">
            <a:extLst>
              <a:ext uri="{FF2B5EF4-FFF2-40B4-BE49-F238E27FC236}">
                <a16:creationId xmlns:a16="http://schemas.microsoft.com/office/drawing/2014/main" id="{0108E655-6336-41B4-8796-0FCCAF00096F}"/>
              </a:ext>
            </a:extLst>
          </p:cNvPr>
          <p:cNvSpPr>
            <a:spLocks noChangeArrowheads="1"/>
          </p:cNvSpPr>
          <p:nvPr/>
        </p:nvSpPr>
        <p:spPr bwMode="auto">
          <a:xfrm>
            <a:off x="8621683" y="4928308"/>
            <a:ext cx="814023" cy="702912"/>
          </a:xfrm>
          <a:prstGeom prst="rect">
            <a:avLst/>
          </a:prstGeom>
          <a:solidFill>
            <a:srgbClr val="FFF2C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sz="1400"/>
          </a:p>
        </p:txBody>
      </p:sp>
      <p:sp>
        <p:nvSpPr>
          <p:cNvPr id="8" name="Rectangle 8">
            <a:extLst>
              <a:ext uri="{FF2B5EF4-FFF2-40B4-BE49-F238E27FC236}">
                <a16:creationId xmlns:a16="http://schemas.microsoft.com/office/drawing/2014/main" id="{8187F6D1-9F16-4596-9B03-F1A09DE4D6BB}"/>
              </a:ext>
            </a:extLst>
          </p:cNvPr>
          <p:cNvSpPr>
            <a:spLocks noChangeArrowheads="1"/>
          </p:cNvSpPr>
          <p:nvPr/>
        </p:nvSpPr>
        <p:spPr bwMode="auto">
          <a:xfrm>
            <a:off x="7827653" y="4928308"/>
            <a:ext cx="757054" cy="702912"/>
          </a:xfrm>
          <a:prstGeom prst="rect">
            <a:avLst/>
          </a:prstGeom>
          <a:solidFill>
            <a:srgbClr val="FFF2C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sz="1400"/>
          </a:p>
        </p:txBody>
      </p:sp>
      <p:sp>
        <p:nvSpPr>
          <p:cNvPr id="9" name="Rectangle 13">
            <a:extLst>
              <a:ext uri="{FF2B5EF4-FFF2-40B4-BE49-F238E27FC236}">
                <a16:creationId xmlns:a16="http://schemas.microsoft.com/office/drawing/2014/main" id="{C53B0F37-3F78-47CD-A640-5A4A454D3B4E}"/>
              </a:ext>
            </a:extLst>
          </p:cNvPr>
          <p:cNvSpPr>
            <a:spLocks noChangeArrowheads="1"/>
          </p:cNvSpPr>
          <p:nvPr/>
        </p:nvSpPr>
        <p:spPr bwMode="auto">
          <a:xfrm>
            <a:off x="9466665" y="4928308"/>
            <a:ext cx="893446" cy="702912"/>
          </a:xfrm>
          <a:prstGeom prst="rect">
            <a:avLst/>
          </a:prstGeom>
          <a:solidFill>
            <a:srgbClr val="FFF2C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sz="1400"/>
          </a:p>
        </p:txBody>
      </p:sp>
      <p:sp>
        <p:nvSpPr>
          <p:cNvPr id="10" name="Rectangle 10">
            <a:extLst>
              <a:ext uri="{FF2B5EF4-FFF2-40B4-BE49-F238E27FC236}">
                <a16:creationId xmlns:a16="http://schemas.microsoft.com/office/drawing/2014/main" id="{D75D929C-BD98-4EAE-9EBA-2473B3A82600}"/>
              </a:ext>
            </a:extLst>
          </p:cNvPr>
          <p:cNvSpPr>
            <a:spLocks noChangeArrowheads="1"/>
          </p:cNvSpPr>
          <p:nvPr/>
        </p:nvSpPr>
        <p:spPr bwMode="auto">
          <a:xfrm>
            <a:off x="8101056" y="5180854"/>
            <a:ext cx="31252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0000"/>
                </a:solidFill>
                <a:effectLst/>
                <a:latin typeface="Calibri" panose="020F0502020204030204" pitchFamily="34" charset="0"/>
              </a:rPr>
              <a:t>BU</a:t>
            </a:r>
            <a:endParaRPr kumimoji="0" lang="en-US" altLang="en-US" sz="1400" b="0" i="0" u="none" strike="noStrike" cap="none" normalizeH="0" baseline="0" dirty="0">
              <a:ln>
                <a:noFill/>
              </a:ln>
              <a:solidFill>
                <a:schemeClr val="tx1"/>
              </a:solidFill>
              <a:effectLst/>
            </a:endParaRPr>
          </a:p>
        </p:txBody>
      </p:sp>
      <p:sp>
        <p:nvSpPr>
          <p:cNvPr id="11" name="Rectangle 15">
            <a:extLst>
              <a:ext uri="{FF2B5EF4-FFF2-40B4-BE49-F238E27FC236}">
                <a16:creationId xmlns:a16="http://schemas.microsoft.com/office/drawing/2014/main" id="{C9F0038B-75D1-4FAC-AE42-90C6BCAF0D80}"/>
              </a:ext>
            </a:extLst>
          </p:cNvPr>
          <p:cNvSpPr>
            <a:spLocks noChangeArrowheads="1"/>
          </p:cNvSpPr>
          <p:nvPr/>
        </p:nvSpPr>
        <p:spPr bwMode="auto">
          <a:xfrm>
            <a:off x="9462342" y="5084924"/>
            <a:ext cx="89235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0000"/>
                </a:solidFill>
                <a:effectLst/>
                <a:latin typeface="Calibri" panose="020F0502020204030204" pitchFamily="34" charset="0"/>
              </a:rPr>
              <a:t>Additional scopes</a:t>
            </a:r>
            <a:endParaRPr kumimoji="0" lang="en-US" altLang="en-US" sz="1400" b="0" i="0" u="none" strike="noStrike" cap="none" normalizeH="0" baseline="0" dirty="0">
              <a:ln>
                <a:noFill/>
              </a:ln>
              <a:solidFill>
                <a:schemeClr val="tx1"/>
              </a:solidFill>
              <a:effectLst/>
            </a:endParaRPr>
          </a:p>
        </p:txBody>
      </p:sp>
      <p:sp>
        <p:nvSpPr>
          <p:cNvPr id="12" name="Rectangle 15">
            <a:extLst>
              <a:ext uri="{FF2B5EF4-FFF2-40B4-BE49-F238E27FC236}">
                <a16:creationId xmlns:a16="http://schemas.microsoft.com/office/drawing/2014/main" id="{74C81434-00BA-4E01-B063-181B87EAFD9F}"/>
              </a:ext>
            </a:extLst>
          </p:cNvPr>
          <p:cNvSpPr>
            <a:spLocks noChangeArrowheads="1"/>
          </p:cNvSpPr>
          <p:nvPr/>
        </p:nvSpPr>
        <p:spPr bwMode="auto">
          <a:xfrm>
            <a:off x="8684489" y="5180854"/>
            <a:ext cx="69215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0000"/>
                </a:solidFill>
                <a:effectLst/>
                <a:latin typeface="Calibri" panose="020F0502020204030204" pitchFamily="34" charset="0"/>
              </a:rPr>
              <a:t>Country</a:t>
            </a:r>
            <a:endParaRPr kumimoji="0" lang="en-US" altLang="en-US" sz="1400" b="0" i="0" u="none" strike="noStrike" cap="none" normalizeH="0" baseline="0" dirty="0">
              <a:ln>
                <a:noFill/>
              </a:ln>
              <a:solidFill>
                <a:schemeClr val="tx1"/>
              </a:solidFill>
              <a:effectLst/>
            </a:endParaRPr>
          </a:p>
        </p:txBody>
      </p:sp>
    </p:spTree>
    <p:extLst>
      <p:ext uri="{BB962C8B-B14F-4D97-AF65-F5344CB8AC3E}">
        <p14:creationId xmlns:p14="http://schemas.microsoft.com/office/powerpoint/2010/main" val="14900490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7444AC7-F46A-488F-A026-B048B3C0E9AB}"/>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Information Governance </a:t>
            </a:r>
            <a:r>
              <a:rPr kumimoji="0" lang="en-US" sz="2000" b="0" i="0" u="none" strike="noStrike" kern="1200" cap="none" spc="0" normalizeH="0" baseline="0" noProof="0" dirty="0">
                <a:ln>
                  <a:noFill/>
                </a:ln>
                <a:solidFill>
                  <a:srgbClr val="FFFFFF"/>
                </a:solidFill>
                <a:effectLst/>
                <a:uLnTx/>
                <a:uFillTx/>
                <a:latin typeface="Segoe UI"/>
                <a:ea typeface="+mn-ea"/>
                <a:cs typeface="+mn-cs"/>
              </a:rPr>
              <a:t>– Details</a:t>
            </a:r>
          </a:p>
        </p:txBody>
      </p:sp>
      <p:sp>
        <p:nvSpPr>
          <p:cNvPr id="3" name="TextBox 2">
            <a:extLst>
              <a:ext uri="{FF2B5EF4-FFF2-40B4-BE49-F238E27FC236}">
                <a16:creationId xmlns:a16="http://schemas.microsoft.com/office/drawing/2014/main" id="{AADB046E-B122-46A3-9BDB-469A0E846502}"/>
              </a:ext>
            </a:extLst>
          </p:cNvPr>
          <p:cNvSpPr txBox="1"/>
          <p:nvPr/>
        </p:nvSpPr>
        <p:spPr>
          <a:xfrm>
            <a:off x="10956515" y="89316"/>
            <a:ext cx="1155766" cy="861774"/>
          </a:xfrm>
          <a:prstGeom prst="rect">
            <a:avLst/>
          </a:prstGeom>
          <a:noFill/>
        </p:spPr>
        <p:txBody>
          <a:bodyPr wrap="none" lIns="0" tIns="0" rIns="0" bIns="0" rtlCol="0">
            <a:spAutoFit/>
          </a:bodyPr>
          <a:lstStyle/>
          <a:p>
            <a:pPr algn="ctr"/>
            <a:r>
              <a:rPr lang="en-US" sz="2800" b="1" dirty="0">
                <a:solidFill>
                  <a:schemeClr val="accent6">
                    <a:lumMod val="50000"/>
                  </a:schemeClr>
                </a:solidFill>
              </a:rPr>
              <a:t>Labels</a:t>
            </a:r>
          </a:p>
          <a:p>
            <a:pPr algn="ctr"/>
            <a:r>
              <a:rPr lang="en-US" sz="2800" b="1" dirty="0">
                <a:solidFill>
                  <a:schemeClr val="accent6">
                    <a:lumMod val="50000"/>
                  </a:schemeClr>
                </a:solidFill>
              </a:rPr>
              <a:t>Details</a:t>
            </a:r>
          </a:p>
        </p:txBody>
      </p:sp>
      <p:pic>
        <p:nvPicPr>
          <p:cNvPr id="5" name="Picture 4">
            <a:extLst>
              <a:ext uri="{FF2B5EF4-FFF2-40B4-BE49-F238E27FC236}">
                <a16:creationId xmlns:a16="http://schemas.microsoft.com/office/drawing/2014/main" id="{94201689-BD13-0049-F2C9-A84D2C8C4D6C}"/>
              </a:ext>
            </a:extLst>
          </p:cNvPr>
          <p:cNvPicPr>
            <a:picLocks noChangeAspect="1"/>
          </p:cNvPicPr>
          <p:nvPr/>
        </p:nvPicPr>
        <p:blipFill>
          <a:blip r:embed="rId2"/>
          <a:stretch>
            <a:fillRect/>
          </a:stretch>
        </p:blipFill>
        <p:spPr>
          <a:xfrm>
            <a:off x="683512" y="0"/>
            <a:ext cx="9761716" cy="6858000"/>
          </a:xfrm>
          <a:prstGeom prst="rect">
            <a:avLst/>
          </a:prstGeom>
        </p:spPr>
      </p:pic>
    </p:spTree>
    <p:extLst>
      <p:ext uri="{BB962C8B-B14F-4D97-AF65-F5344CB8AC3E}">
        <p14:creationId xmlns:p14="http://schemas.microsoft.com/office/powerpoint/2010/main" val="1969552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7444AC7-F46A-488F-A026-B048B3C0E9AB}"/>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Information Governance </a:t>
            </a:r>
            <a:r>
              <a:rPr kumimoji="0" lang="en-US" sz="2000" b="0" i="0" u="none" strike="noStrike" kern="1200" cap="none" spc="0" normalizeH="0" baseline="0" noProof="0" dirty="0">
                <a:ln>
                  <a:noFill/>
                </a:ln>
                <a:solidFill>
                  <a:srgbClr val="FFFFFF"/>
                </a:solidFill>
                <a:effectLst/>
                <a:uLnTx/>
                <a:uFillTx/>
                <a:latin typeface="Segoe UI"/>
                <a:ea typeface="+mn-ea"/>
                <a:cs typeface="+mn-cs"/>
              </a:rPr>
              <a:t>– Details</a:t>
            </a:r>
          </a:p>
        </p:txBody>
      </p:sp>
      <p:sp>
        <p:nvSpPr>
          <p:cNvPr id="3" name="TextBox 2">
            <a:extLst>
              <a:ext uri="{FF2B5EF4-FFF2-40B4-BE49-F238E27FC236}">
                <a16:creationId xmlns:a16="http://schemas.microsoft.com/office/drawing/2014/main" id="{E9F6838A-A9D5-468B-A865-CB1CADA620A9}"/>
              </a:ext>
            </a:extLst>
          </p:cNvPr>
          <p:cNvSpPr txBox="1"/>
          <p:nvPr/>
        </p:nvSpPr>
        <p:spPr>
          <a:xfrm>
            <a:off x="10851043" y="89316"/>
            <a:ext cx="1263679" cy="861774"/>
          </a:xfrm>
          <a:prstGeom prst="rect">
            <a:avLst/>
          </a:prstGeom>
          <a:noFill/>
        </p:spPr>
        <p:txBody>
          <a:bodyPr wrap="none" lIns="0" tIns="0" rIns="0" bIns="0" rtlCol="0">
            <a:spAutoFit/>
          </a:bodyPr>
          <a:lstStyle/>
          <a:p>
            <a:pPr algn="ctr"/>
            <a:r>
              <a:rPr lang="en-US" sz="2800" b="1" dirty="0">
                <a:solidFill>
                  <a:schemeClr val="accent6">
                    <a:lumMod val="50000"/>
                  </a:schemeClr>
                </a:solidFill>
              </a:rPr>
              <a:t>Policies</a:t>
            </a:r>
          </a:p>
          <a:p>
            <a:pPr algn="ctr"/>
            <a:r>
              <a:rPr lang="en-US" sz="2800" b="1" dirty="0">
                <a:solidFill>
                  <a:schemeClr val="accent6">
                    <a:lumMod val="50000"/>
                  </a:schemeClr>
                </a:solidFill>
              </a:rPr>
              <a:t>Details</a:t>
            </a:r>
          </a:p>
        </p:txBody>
      </p:sp>
      <p:pic>
        <p:nvPicPr>
          <p:cNvPr id="8" name="Picture 7">
            <a:extLst>
              <a:ext uri="{FF2B5EF4-FFF2-40B4-BE49-F238E27FC236}">
                <a16:creationId xmlns:a16="http://schemas.microsoft.com/office/drawing/2014/main" id="{4F960143-592A-3530-B2C5-B8D97936E565}"/>
              </a:ext>
            </a:extLst>
          </p:cNvPr>
          <p:cNvPicPr>
            <a:picLocks noChangeAspect="1"/>
          </p:cNvPicPr>
          <p:nvPr/>
        </p:nvPicPr>
        <p:blipFill>
          <a:blip r:embed="rId2"/>
          <a:stretch>
            <a:fillRect/>
          </a:stretch>
        </p:blipFill>
        <p:spPr>
          <a:xfrm>
            <a:off x="370030" y="19050"/>
            <a:ext cx="11820525" cy="6819900"/>
          </a:xfrm>
          <a:prstGeom prst="rect">
            <a:avLst/>
          </a:prstGeom>
        </p:spPr>
      </p:pic>
    </p:spTree>
    <p:extLst>
      <p:ext uri="{BB962C8B-B14F-4D97-AF65-F5344CB8AC3E}">
        <p14:creationId xmlns:p14="http://schemas.microsoft.com/office/powerpoint/2010/main" val="28753024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2945387"/>
            <a:ext cx="5649180" cy="1477328"/>
          </a:xfrm>
        </p:spPr>
        <p:txBody>
          <a:bodyPr/>
          <a:lstStyle/>
          <a:p>
            <a:r>
              <a:rPr lang="en-US" sz="3200" dirty="0"/>
              <a:t>Vision Diagrams Series</a:t>
            </a:r>
            <a:br>
              <a:rPr lang="en-US" sz="3200" dirty="0"/>
            </a:br>
            <a:r>
              <a:rPr lang="en-US" sz="3200" dirty="0"/>
              <a:t>Data Lifecycle Management</a:t>
            </a:r>
            <a:br>
              <a:rPr lang="en-US" sz="3200" dirty="0"/>
            </a:br>
            <a:r>
              <a:rPr lang="en-US" sz="3200" dirty="0"/>
              <a:t>&amp; Records Management</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Data Protection &amp; Compliance - Technical Specialis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Tree>
    <p:extLst>
      <p:ext uri="{BB962C8B-B14F-4D97-AF65-F5344CB8AC3E}">
        <p14:creationId xmlns:p14="http://schemas.microsoft.com/office/powerpoint/2010/main" val="14384980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800" dirty="0">
                <a:solidFill>
                  <a:srgbClr val="5B9BD5">
                    <a:lumMod val="40000"/>
                    <a:lumOff val="60000"/>
                  </a:srgbClr>
                </a:solidFill>
                <a:latin typeface="Segoe UI Light" panose="020B0502040204020203" pitchFamily="34" charset="0"/>
                <a:cs typeface="Segoe UI Light" panose="020B0502040204020203" pitchFamily="34" charset="0"/>
              </a:rPr>
              <a:t>Conclusion</a:t>
            </a:r>
            <a:endParaRPr kumimoji="0" lang="en-US" sz="88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67776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4FABD-4560-4429-9452-5E402E4CA1BC}"/>
              </a:ext>
            </a:extLst>
          </p:cNvPr>
          <p:cNvSpPr>
            <a:spLocks noGrp="1"/>
          </p:cNvSpPr>
          <p:nvPr>
            <p:ph type="title"/>
          </p:nvPr>
        </p:nvSpPr>
        <p:spPr/>
        <p:txBody>
          <a:bodyPr/>
          <a:lstStyle/>
          <a:p>
            <a:r>
              <a:rPr lang="en-US" dirty="0"/>
              <a:t>Retention Features in E3 and E5</a:t>
            </a:r>
          </a:p>
        </p:txBody>
      </p:sp>
    </p:spTree>
    <p:extLst>
      <p:ext uri="{BB962C8B-B14F-4D97-AF65-F5344CB8AC3E}">
        <p14:creationId xmlns:p14="http://schemas.microsoft.com/office/powerpoint/2010/main" val="3929666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4E83F3B-1AC5-438B-BF93-5B7CE81545DD}"/>
              </a:ext>
            </a:extLst>
          </p:cNvPr>
          <p:cNvSpPr>
            <a:spLocks noGrp="1"/>
          </p:cNvSpPr>
          <p:nvPr>
            <p:ph idx="1"/>
          </p:nvPr>
        </p:nvSpPr>
        <p:spPr>
          <a:xfrm>
            <a:off x="437319" y="999981"/>
            <a:ext cx="11336039" cy="3105337"/>
          </a:xfrm>
        </p:spPr>
        <p:txBody>
          <a:bodyPr/>
          <a:lstStyle/>
          <a:p>
            <a:pPr marL="285750" indent="-285750">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Create and apply Retention Policies</a:t>
            </a:r>
          </a:p>
          <a:p>
            <a:pPr marL="285750" indent="-285750">
              <a:buFont typeface="Arial" panose="020B0604020202020204" pitchFamily="34" charset="0"/>
              <a:buChar char="•"/>
            </a:pPr>
            <a:endParaRPr lang="en-US" sz="1800" dirty="0">
              <a:effectLst/>
              <a:latin typeface="Calibri" panose="020F0502020204030204" pitchFamily="34" charset="0"/>
              <a:ea typeface="Calibri" panose="020F0502020204030204" pitchFamily="34" charset="0"/>
            </a:endParaRPr>
          </a:p>
          <a:p>
            <a:pPr marL="285750" indent="-285750">
              <a:buFont typeface="Arial" panose="020B0604020202020204" pitchFamily="34" charset="0"/>
              <a:buChar char="•"/>
            </a:pPr>
            <a:r>
              <a:rPr lang="en-US" sz="1800" dirty="0">
                <a:latin typeface="Calibri" panose="020F0502020204030204" pitchFamily="34" charset="0"/>
                <a:ea typeface="Calibri" panose="020F0502020204030204" pitchFamily="34" charset="0"/>
              </a:rPr>
              <a:t>Create and publish Retention Labels (with static scopes)</a:t>
            </a:r>
          </a:p>
          <a:p>
            <a:pPr marL="285750" indent="-285750">
              <a:buFont typeface="Arial" panose="020B0604020202020204" pitchFamily="34" charset="0"/>
              <a:buChar char="•"/>
            </a:pPr>
            <a:endParaRPr lang="en-US" sz="1800" dirty="0">
              <a:effectLst/>
              <a:latin typeface="Calibri" panose="020F0502020204030204" pitchFamily="34" charset="0"/>
              <a:ea typeface="Calibri" panose="020F0502020204030204" pitchFamily="34" charset="0"/>
            </a:endParaRPr>
          </a:p>
          <a:p>
            <a:pPr marL="285750" indent="-285750">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Implement </a:t>
            </a:r>
            <a:r>
              <a:rPr lang="en-US" sz="1800" dirty="0">
                <a:latin typeface="Calibri" panose="020F0502020204030204" pitchFamily="34" charset="0"/>
                <a:ea typeface="Calibri" panose="020F0502020204030204" pitchFamily="34" charset="0"/>
              </a:rPr>
              <a:t>Retention &amp; Deletion Processes</a:t>
            </a:r>
          </a:p>
          <a:p>
            <a:pPr marL="509847" lvl="1" indent="-285750">
              <a:buFont typeface="Arial" panose="020B0604020202020204" pitchFamily="34" charset="0"/>
              <a:buChar char="•"/>
            </a:pPr>
            <a:r>
              <a:rPr lang="en-US" sz="1212" dirty="0">
                <a:latin typeface="Calibri" panose="020F0502020204030204" pitchFamily="34" charset="0"/>
                <a:ea typeface="Calibri" panose="020F0502020204030204" pitchFamily="34" charset="0"/>
              </a:rPr>
              <a:t>Preservation Hold Library for ODB </a:t>
            </a:r>
          </a:p>
          <a:p>
            <a:pPr marL="509847" lvl="1" indent="-285750">
              <a:buFont typeface="Arial" panose="020B0604020202020204" pitchFamily="34" charset="0"/>
              <a:buChar char="•"/>
            </a:pPr>
            <a:r>
              <a:rPr lang="en-US" sz="1212" dirty="0">
                <a:latin typeface="Calibri" panose="020F0502020204030204" pitchFamily="34" charset="0"/>
                <a:ea typeface="Calibri" panose="020F0502020204030204" pitchFamily="34" charset="0"/>
              </a:rPr>
              <a:t>Preservation Hold Library for SPO</a:t>
            </a:r>
          </a:p>
          <a:p>
            <a:pPr marL="509847" lvl="1" indent="-285750">
              <a:buFont typeface="Arial" panose="020B0604020202020204" pitchFamily="34" charset="0"/>
              <a:buChar char="•"/>
            </a:pPr>
            <a:r>
              <a:rPr lang="en-US" sz="1212" dirty="0">
                <a:latin typeface="Calibri" panose="020F0502020204030204" pitchFamily="34" charset="0"/>
                <a:ea typeface="Calibri" panose="020F0502020204030204" pitchFamily="34" charset="0"/>
              </a:rPr>
              <a:t>Recoverable Items for EXO</a:t>
            </a:r>
          </a:p>
          <a:p>
            <a:pPr marL="509847" lvl="1" indent="-285750">
              <a:buFont typeface="Arial" panose="020B0604020202020204" pitchFamily="34" charset="0"/>
              <a:buChar char="•"/>
            </a:pPr>
            <a:r>
              <a:rPr lang="en-US" sz="1212" dirty="0" err="1">
                <a:latin typeface="Calibri" panose="020F0502020204030204" pitchFamily="34" charset="0"/>
                <a:ea typeface="Calibri" panose="020F0502020204030204" pitchFamily="34" charset="0"/>
              </a:rPr>
              <a:t>SubstrateHolds</a:t>
            </a:r>
            <a:r>
              <a:rPr lang="en-US" sz="1212" dirty="0">
                <a:latin typeface="Calibri" panose="020F0502020204030204" pitchFamily="34" charset="0"/>
                <a:ea typeface="Calibri" panose="020F0502020204030204" pitchFamily="34" charset="0"/>
              </a:rPr>
              <a:t> for Teams</a:t>
            </a:r>
          </a:p>
          <a:p>
            <a:pPr marL="509847" lvl="1" indent="-285750">
              <a:buFont typeface="Arial" panose="020B0604020202020204" pitchFamily="34" charset="0"/>
              <a:buChar char="•"/>
            </a:pPr>
            <a:r>
              <a:rPr lang="en-US" sz="1212" dirty="0" err="1">
                <a:latin typeface="Calibri" panose="020F0502020204030204" pitchFamily="34" charset="0"/>
                <a:ea typeface="Calibri" panose="020F0502020204030204" pitchFamily="34" charset="0"/>
              </a:rPr>
              <a:t>SubstrateHolds</a:t>
            </a:r>
            <a:r>
              <a:rPr lang="en-US" sz="1212" dirty="0">
                <a:latin typeface="Calibri" panose="020F0502020204030204" pitchFamily="34" charset="0"/>
                <a:ea typeface="Calibri" panose="020F0502020204030204" pitchFamily="34" charset="0"/>
              </a:rPr>
              <a:t> for Yammer (preview)</a:t>
            </a:r>
          </a:p>
          <a:p>
            <a:pPr marL="509847" lvl="1" indent="-285750">
              <a:buFont typeface="Arial" panose="020B0604020202020204" pitchFamily="34" charset="0"/>
              <a:buChar char="•"/>
            </a:pPr>
            <a:endParaRPr lang="en-US" sz="1212" dirty="0">
              <a:latin typeface="Calibri" panose="020F0502020204030204" pitchFamily="34" charset="0"/>
              <a:ea typeface="Calibri" panose="020F0502020204030204" pitchFamily="34" charset="0"/>
            </a:endParaRPr>
          </a:p>
          <a:p>
            <a:pPr marL="285750" indent="-285750">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Retained data remains accessible for eDiscovery</a:t>
            </a:r>
          </a:p>
          <a:p>
            <a:pPr marL="285750" indent="-285750">
              <a:buFont typeface="Arial" panose="020B0604020202020204" pitchFamily="34" charset="0"/>
              <a:buChar char="•"/>
            </a:pPr>
            <a:endParaRPr lang="en-US" sz="1800" dirty="0">
              <a:effectLst/>
              <a:latin typeface="Calibri" panose="020F0502020204030204" pitchFamily="34" charset="0"/>
              <a:ea typeface="Calibri" panose="020F0502020204030204" pitchFamily="34" charset="0"/>
            </a:endParaRPr>
          </a:p>
          <a:p>
            <a:pPr marL="457200" indent="-457200">
              <a:buFont typeface="Arial" panose="020B0604020202020204" pitchFamily="34" charset="0"/>
              <a:buChar char="•"/>
            </a:pPr>
            <a:endParaRPr lang="en-US" dirty="0"/>
          </a:p>
        </p:txBody>
      </p:sp>
      <p:sp>
        <p:nvSpPr>
          <p:cNvPr id="2" name="Title 1">
            <a:extLst>
              <a:ext uri="{FF2B5EF4-FFF2-40B4-BE49-F238E27FC236}">
                <a16:creationId xmlns:a16="http://schemas.microsoft.com/office/drawing/2014/main" id="{8C7ABA0C-32E2-4E1F-AFC3-EAFB1B1CE21A}"/>
              </a:ext>
            </a:extLst>
          </p:cNvPr>
          <p:cNvSpPr>
            <a:spLocks noGrp="1"/>
          </p:cNvSpPr>
          <p:nvPr>
            <p:ph type="title"/>
          </p:nvPr>
        </p:nvSpPr>
        <p:spPr/>
        <p:txBody>
          <a:bodyPr/>
          <a:lstStyle/>
          <a:p>
            <a:r>
              <a:rPr lang="en-US" dirty="0"/>
              <a:t>Retention with E3 </a:t>
            </a:r>
          </a:p>
        </p:txBody>
      </p:sp>
    </p:spTree>
    <p:extLst>
      <p:ext uri="{BB962C8B-B14F-4D97-AF65-F5344CB8AC3E}">
        <p14:creationId xmlns:p14="http://schemas.microsoft.com/office/powerpoint/2010/main" val="86319699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4E83F3B-1AC5-438B-BF93-5B7CE81545DD}"/>
              </a:ext>
            </a:extLst>
          </p:cNvPr>
          <p:cNvSpPr>
            <a:spLocks noGrp="1"/>
          </p:cNvSpPr>
          <p:nvPr>
            <p:ph idx="1"/>
          </p:nvPr>
        </p:nvSpPr>
        <p:spPr>
          <a:xfrm>
            <a:off x="437319" y="877149"/>
            <a:ext cx="11336039" cy="6283515"/>
          </a:xfrm>
        </p:spPr>
        <p:txBody>
          <a:bodyPr/>
          <a:lstStyle/>
          <a:p>
            <a:pPr marL="285750" indent="-285750">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Retention Label Automation</a:t>
            </a:r>
          </a:p>
          <a:p>
            <a:pPr marL="509847" lvl="1" indent="-285750">
              <a:buFont typeface="Arial" panose="020B0604020202020204" pitchFamily="34" charset="0"/>
              <a:buChar char="•"/>
            </a:pPr>
            <a:r>
              <a:rPr lang="en-US" sz="1212" dirty="0">
                <a:effectLst/>
                <a:latin typeface="Calibri" panose="020F0502020204030204" pitchFamily="34" charset="0"/>
                <a:ea typeface="Calibri" panose="020F0502020204030204" pitchFamily="34" charset="0"/>
              </a:rPr>
              <a:t>Automatically apply a Retention Label  based on conditions (keywords, SITs, Trainable Classifiers)</a:t>
            </a:r>
          </a:p>
          <a:p>
            <a:pPr marL="509847" lvl="1" indent="-285750">
              <a:buFont typeface="Arial" panose="020B0604020202020204" pitchFamily="34" charset="0"/>
              <a:buChar char="•"/>
            </a:pPr>
            <a:r>
              <a:rPr lang="en-US" sz="1212" dirty="0">
                <a:effectLst/>
                <a:latin typeface="Calibri" panose="020F0502020204030204" pitchFamily="34" charset="0"/>
                <a:ea typeface="Calibri" panose="020F0502020204030204" pitchFamily="34" charset="0"/>
              </a:rPr>
              <a:t>Automatically apply a Retention Label based on events</a:t>
            </a:r>
          </a:p>
          <a:p>
            <a:pPr marL="509847" lvl="1" indent="-285750">
              <a:buFont typeface="Arial" panose="020B0604020202020204" pitchFamily="34" charset="0"/>
              <a:buChar char="•"/>
            </a:pPr>
            <a:r>
              <a:rPr lang="en-US" sz="1212" dirty="0">
                <a:effectLst/>
                <a:latin typeface="Calibri" panose="020F0502020204030204" pitchFamily="34" charset="0"/>
                <a:ea typeface="Calibri" panose="020F0502020204030204" pitchFamily="34" charset="0"/>
              </a:rPr>
              <a:t>Apply a default retention label to a Sharepoint Library (using the SPO Settings UI)</a:t>
            </a:r>
          </a:p>
          <a:p>
            <a:pPr marL="509847" lvl="1" indent="-285750">
              <a:buFont typeface="Arial" panose="020B0604020202020204" pitchFamily="34" charset="0"/>
              <a:buChar char="•"/>
            </a:pPr>
            <a:r>
              <a:rPr lang="en-US" sz="1212" dirty="0">
                <a:effectLst/>
                <a:latin typeface="Calibri" panose="020F0502020204030204" pitchFamily="34" charset="0"/>
                <a:ea typeface="Calibri" panose="020F0502020204030204" pitchFamily="34" charset="0"/>
              </a:rPr>
              <a:t>Implement Folder Label inheritance (Files in the folder inherit their retention label from their container)</a:t>
            </a:r>
          </a:p>
          <a:p>
            <a:pPr marL="285750" indent="-285750">
              <a:buFont typeface="Arial" panose="020B0604020202020204" pitchFamily="34" charset="0"/>
              <a:buChar char="•"/>
            </a:pPr>
            <a:endParaRPr lang="en-US" sz="1800" dirty="0">
              <a:effectLst/>
              <a:latin typeface="Calibri" panose="020F0502020204030204" pitchFamily="34" charset="0"/>
              <a:ea typeface="Calibri" panose="020F0502020204030204" pitchFamily="34" charset="0"/>
            </a:endParaRPr>
          </a:p>
          <a:p>
            <a:pPr marL="285750" indent="-285750">
              <a:buFont typeface="Arial" panose="020B0604020202020204" pitchFamily="34" charset="0"/>
              <a:buChar char="•"/>
            </a:pPr>
            <a:r>
              <a:rPr lang="en-US" sz="1800" dirty="0">
                <a:latin typeface="Calibri" panose="020F0502020204030204" pitchFamily="34" charset="0"/>
                <a:ea typeface="Calibri" panose="020F0502020204030204" pitchFamily="34" charset="0"/>
              </a:rPr>
              <a:t>Disposition Review</a:t>
            </a:r>
            <a:endParaRPr lang="en-US" sz="1800" dirty="0">
              <a:effectLst/>
              <a:latin typeface="Calibri" panose="020F0502020204030204" pitchFamily="34" charset="0"/>
              <a:ea typeface="Calibri" panose="020F0502020204030204" pitchFamily="34" charset="0"/>
            </a:endParaRPr>
          </a:p>
          <a:p>
            <a:pPr marL="509847" lvl="1" indent="-285750">
              <a:buFont typeface="Arial" panose="020B0604020202020204" pitchFamily="34" charset="0"/>
              <a:buChar char="•"/>
            </a:pPr>
            <a:r>
              <a:rPr lang="en-US" sz="1212" dirty="0">
                <a:effectLst/>
                <a:latin typeface="Calibri" panose="020F0502020204030204" pitchFamily="34" charset="0"/>
                <a:ea typeface="Calibri" panose="020F0502020204030204" pitchFamily="34" charset="0"/>
              </a:rPr>
              <a:t>Implement a </a:t>
            </a:r>
            <a:r>
              <a:rPr lang="en-US" sz="1212" dirty="0">
                <a:latin typeface="Calibri" panose="020F0502020204030204" pitchFamily="34" charset="0"/>
                <a:ea typeface="Calibri" panose="020F0502020204030204" pitchFamily="34" charset="0"/>
              </a:rPr>
              <a:t>d</a:t>
            </a:r>
            <a:r>
              <a:rPr lang="en-US" sz="1212" dirty="0">
                <a:effectLst/>
                <a:latin typeface="Calibri" panose="020F0502020204030204" pitchFamily="34" charset="0"/>
                <a:ea typeface="Calibri" panose="020F0502020204030204" pitchFamily="34" charset="0"/>
              </a:rPr>
              <a:t>isposition review process after retention (resulting from Retention Labels)</a:t>
            </a:r>
          </a:p>
          <a:p>
            <a:pPr marL="509847" lvl="1" indent="-285750">
              <a:buFont typeface="Arial" panose="020B0604020202020204" pitchFamily="34" charset="0"/>
              <a:buChar char="•"/>
            </a:pPr>
            <a:r>
              <a:rPr lang="en-US" sz="1212" dirty="0">
                <a:effectLst/>
                <a:latin typeface="Calibri" panose="020F0502020204030204" pitchFamily="34" charset="0"/>
                <a:ea typeface="Calibri" panose="020F0502020204030204" pitchFamily="34" charset="0"/>
              </a:rPr>
              <a:t>Basic or multi-stage disposition review</a:t>
            </a:r>
          </a:p>
          <a:p>
            <a:pPr marL="509847" lvl="1" indent="-285750">
              <a:buFont typeface="Arial" panose="020B0604020202020204" pitchFamily="34" charset="0"/>
              <a:buChar char="•"/>
            </a:pPr>
            <a:endParaRPr lang="en-US" sz="1212" dirty="0">
              <a:effectLst/>
              <a:latin typeface="Calibri" panose="020F0502020204030204" pitchFamily="34" charset="0"/>
              <a:ea typeface="Calibri" panose="020F0502020204030204" pitchFamily="34" charset="0"/>
            </a:endParaRPr>
          </a:p>
          <a:p>
            <a:pPr marL="285750" indent="-285750">
              <a:buFont typeface="Arial" panose="020B0604020202020204" pitchFamily="34" charset="0"/>
              <a:buChar char="•"/>
            </a:pPr>
            <a:r>
              <a:rPr lang="en-US" sz="1800" dirty="0">
                <a:latin typeface="Calibri" panose="020F0502020204030204" pitchFamily="34" charset="0"/>
                <a:ea typeface="Calibri" panose="020F0502020204030204" pitchFamily="34" charset="0"/>
              </a:rPr>
              <a:t>F</a:t>
            </a:r>
            <a:r>
              <a:rPr lang="en-US" sz="1800" dirty="0">
                <a:effectLst/>
                <a:latin typeface="Calibri" panose="020F0502020204030204" pitchFamily="34" charset="0"/>
                <a:ea typeface="Calibri" panose="020F0502020204030204" pitchFamily="34" charset="0"/>
              </a:rPr>
              <a:t>ile plan Manager</a:t>
            </a:r>
          </a:p>
          <a:p>
            <a:pPr marL="285750" indent="-285750">
              <a:buFont typeface="Arial" panose="020B0604020202020204" pitchFamily="34" charset="0"/>
              <a:buChar char="•"/>
            </a:pPr>
            <a:endParaRPr lang="en-US" sz="1800" dirty="0">
              <a:effectLst/>
              <a:latin typeface="Calibri" panose="020F0502020204030204" pitchFamily="34" charset="0"/>
              <a:ea typeface="Calibri" panose="020F0502020204030204" pitchFamily="34" charset="0"/>
            </a:endParaRPr>
          </a:p>
          <a:p>
            <a:pPr marL="285750" indent="-285750">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Records Management </a:t>
            </a:r>
          </a:p>
          <a:p>
            <a:pPr marL="509847" lvl="1" indent="-285750">
              <a:buFont typeface="Arial" panose="020B0604020202020204" pitchFamily="34" charset="0"/>
              <a:buChar char="•"/>
            </a:pPr>
            <a:r>
              <a:rPr lang="en-US" sz="1212" dirty="0">
                <a:latin typeface="Calibri" panose="020F0502020204030204" pitchFamily="34" charset="0"/>
                <a:ea typeface="Calibri" panose="020F0502020204030204" pitchFamily="34" charset="0"/>
              </a:rPr>
              <a:t>R</a:t>
            </a:r>
            <a:r>
              <a:rPr lang="en-US" sz="1212" dirty="0">
                <a:effectLst/>
                <a:latin typeface="Calibri" panose="020F0502020204030204" pitchFamily="34" charset="0"/>
                <a:ea typeface="Calibri" panose="020F0502020204030204" pitchFamily="34" charset="0"/>
              </a:rPr>
              <a:t>ecord labels</a:t>
            </a:r>
          </a:p>
          <a:p>
            <a:pPr marL="509847" lvl="1" indent="-285750">
              <a:buFont typeface="Arial" panose="020B0604020202020204" pitchFamily="34" charset="0"/>
              <a:buChar char="•"/>
            </a:pPr>
            <a:r>
              <a:rPr lang="en-US" sz="1212" dirty="0">
                <a:latin typeface="Calibri" panose="020F0502020204030204" pitchFamily="34" charset="0"/>
                <a:ea typeface="Calibri" panose="020F0502020204030204" pitchFamily="34" charset="0"/>
              </a:rPr>
              <a:t>R</a:t>
            </a:r>
            <a:r>
              <a:rPr lang="en-US" sz="1212" dirty="0">
                <a:effectLst/>
                <a:latin typeface="Calibri" panose="020F0502020204030204" pitchFamily="34" charset="0"/>
                <a:ea typeface="Calibri" panose="020F0502020204030204" pitchFamily="34" charset="0"/>
              </a:rPr>
              <a:t>ecord versions</a:t>
            </a:r>
          </a:p>
          <a:p>
            <a:pPr marL="509847" lvl="1" indent="-285750">
              <a:buFont typeface="Arial" panose="020B0604020202020204" pitchFamily="34" charset="0"/>
              <a:buChar char="•"/>
            </a:pPr>
            <a:endParaRPr lang="en-US" sz="1212" dirty="0">
              <a:effectLst/>
              <a:latin typeface="Calibri" panose="020F0502020204030204" pitchFamily="34" charset="0"/>
              <a:ea typeface="Calibri" panose="020F0502020204030204" pitchFamily="34" charset="0"/>
            </a:endParaRPr>
          </a:p>
          <a:p>
            <a:pPr marL="285750" indent="-285750">
              <a:buFont typeface="Arial" panose="020B0604020202020204" pitchFamily="34" charset="0"/>
              <a:buChar char="•"/>
            </a:pPr>
            <a:r>
              <a:rPr lang="en-US" sz="1800" dirty="0">
                <a:latin typeface="Calibri" panose="020F0502020204030204" pitchFamily="34" charset="0"/>
              </a:rPr>
              <a:t>Policies Options</a:t>
            </a:r>
          </a:p>
          <a:p>
            <a:pPr marL="509847" lvl="1" indent="-285750">
              <a:buFont typeface="Arial" panose="020B0604020202020204" pitchFamily="34" charset="0"/>
              <a:buChar char="•"/>
            </a:pPr>
            <a:r>
              <a:rPr lang="en-US" sz="1210" dirty="0">
                <a:effectLst/>
                <a:latin typeface="Calibri" panose="020F0502020204030204" pitchFamily="34" charset="0"/>
                <a:ea typeface="Calibri" panose="020F0502020204030204" pitchFamily="34" charset="0"/>
              </a:rPr>
              <a:t>Adaptive Scopes </a:t>
            </a:r>
          </a:p>
          <a:p>
            <a:pPr marL="509847" lvl="1" indent="-285750">
              <a:buFont typeface="Arial" panose="020B0604020202020204" pitchFamily="34" charset="0"/>
              <a:buChar char="•"/>
            </a:pPr>
            <a:r>
              <a:rPr lang="en-US" sz="1210" dirty="0">
                <a:effectLst/>
                <a:latin typeface="Calibri" panose="020F0502020204030204" pitchFamily="34" charset="0"/>
                <a:ea typeface="Calibri" panose="020F0502020204030204" pitchFamily="34" charset="0"/>
              </a:rPr>
              <a:t>Policy Lookup </a:t>
            </a:r>
          </a:p>
          <a:p>
            <a:pPr lvl="1"/>
            <a:endParaRPr lang="en-US" sz="1800" dirty="0">
              <a:effectLst/>
              <a:latin typeface="Calibri" panose="020F0502020204030204" pitchFamily="34" charset="0"/>
              <a:ea typeface="Calibri" panose="020F0502020204030204" pitchFamily="34" charset="0"/>
            </a:endParaRPr>
          </a:p>
          <a:p>
            <a:pPr marL="285750" indent="-285750">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Integrations with the Compliance Center</a:t>
            </a:r>
          </a:p>
          <a:p>
            <a:pPr marL="509847" lvl="1" indent="-285750">
              <a:buFont typeface="Arial" panose="020B0604020202020204" pitchFamily="34" charset="0"/>
              <a:buChar char="•"/>
            </a:pPr>
            <a:r>
              <a:rPr lang="en-US" sz="1212" dirty="0">
                <a:effectLst/>
                <a:latin typeface="Calibri" panose="020F0502020204030204" pitchFamily="34" charset="0"/>
                <a:ea typeface="Calibri" panose="020F0502020204030204" pitchFamily="34" charset="0"/>
              </a:rPr>
              <a:t>External Data Connectors (to import external data into M365)</a:t>
            </a:r>
          </a:p>
          <a:p>
            <a:pPr marL="509847" lvl="1" indent="-285750">
              <a:buFont typeface="Arial" panose="020B0604020202020204" pitchFamily="34" charset="0"/>
              <a:buChar char="•"/>
            </a:pPr>
            <a:r>
              <a:rPr lang="en-US" sz="1212" dirty="0">
                <a:effectLst/>
                <a:latin typeface="Calibri" panose="020F0502020204030204" pitchFamily="34" charset="0"/>
                <a:ea typeface="Calibri" panose="020F0502020204030204" pitchFamily="34" charset="0"/>
              </a:rPr>
              <a:t>Content Explorer (to explore applied Retention Labels)</a:t>
            </a:r>
          </a:p>
          <a:p>
            <a:pPr marL="509847" lvl="1" indent="-285750">
              <a:buFont typeface="Arial" panose="020B0604020202020204" pitchFamily="34" charset="0"/>
              <a:buChar char="•"/>
            </a:pPr>
            <a:r>
              <a:rPr lang="en-US" sz="1212" dirty="0">
                <a:effectLst/>
                <a:latin typeface="Calibri" panose="020F0502020204030204" pitchFamily="34" charset="0"/>
                <a:ea typeface="Calibri" panose="020F0502020204030204" pitchFamily="34" charset="0"/>
              </a:rPr>
              <a:t>Activity Explorer (to explore Retention Labels activity)</a:t>
            </a:r>
          </a:p>
          <a:p>
            <a:pPr marL="285750" indent="-285750">
              <a:buFont typeface="Arial" panose="020B0604020202020204" pitchFamily="34" charset="0"/>
              <a:buChar char="•"/>
            </a:pPr>
            <a:endParaRPr lang="en-US" sz="1800" dirty="0">
              <a:effectLst/>
              <a:latin typeface="Calibri" panose="020F0502020204030204" pitchFamily="34" charset="0"/>
              <a:ea typeface="Calibri" panose="020F0502020204030204" pitchFamily="34" charset="0"/>
            </a:endParaRPr>
          </a:p>
          <a:p>
            <a:pPr marL="285750" indent="-285750">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More to come (Previews)</a:t>
            </a:r>
          </a:p>
          <a:p>
            <a:pPr marL="509847" lvl="1" indent="-285750">
              <a:buFont typeface="Arial" panose="020B0604020202020204" pitchFamily="34" charset="0"/>
              <a:buChar char="•"/>
            </a:pPr>
            <a:r>
              <a:rPr lang="en-US" sz="1212" dirty="0">
                <a:latin typeface="Calibri" panose="020F0502020204030204" pitchFamily="34" charset="0"/>
                <a:ea typeface="Calibri" panose="020F0502020204030204" pitchFamily="34" charset="0"/>
              </a:rPr>
              <a:t>Tr</a:t>
            </a:r>
            <a:r>
              <a:rPr lang="en-US" sz="1212" dirty="0">
                <a:effectLst/>
                <a:latin typeface="Calibri" panose="020F0502020204030204" pitchFamily="34" charset="0"/>
                <a:ea typeface="Calibri" panose="020F0502020204030204" pitchFamily="34" charset="0"/>
              </a:rPr>
              <a:t>igger a </a:t>
            </a:r>
            <a:r>
              <a:rPr lang="en-US" sz="1212" dirty="0">
                <a:latin typeface="Calibri" panose="020F0502020204030204" pitchFamily="34" charset="0"/>
                <a:ea typeface="Calibri" panose="020F0502020204030204" pitchFamily="34" charset="0"/>
              </a:rPr>
              <a:t>P</a:t>
            </a:r>
            <a:r>
              <a:rPr lang="en-US" sz="1212" dirty="0">
                <a:effectLst/>
                <a:latin typeface="Calibri" panose="020F0502020204030204" pitchFamily="34" charset="0"/>
                <a:ea typeface="Calibri" panose="020F0502020204030204" pitchFamily="34" charset="0"/>
              </a:rPr>
              <a:t>ower Automate flow at the end of a retention period</a:t>
            </a:r>
          </a:p>
          <a:p>
            <a:pPr marL="509847" lvl="1" indent="-285750">
              <a:buFont typeface="Arial" panose="020B0604020202020204" pitchFamily="34" charset="0"/>
              <a:buChar char="•"/>
            </a:pPr>
            <a:r>
              <a:rPr lang="en-US" sz="1210" dirty="0">
                <a:effectLst/>
                <a:latin typeface="Calibri" panose="020F0502020204030204" pitchFamily="34" charset="0"/>
                <a:ea typeface="Calibri" panose="020F0502020204030204" pitchFamily="34" charset="0"/>
              </a:rPr>
              <a:t>Daisy chain retention labels (apply a different label at the end of a retention period)</a:t>
            </a:r>
          </a:p>
          <a:p>
            <a:pPr marL="509847" lvl="1" indent="-285750">
              <a:buFont typeface="Arial" panose="020B0604020202020204" pitchFamily="34" charset="0"/>
              <a:buChar char="•"/>
            </a:pPr>
            <a:r>
              <a:rPr lang="en-US" sz="1210" dirty="0" err="1">
                <a:effectLst/>
                <a:latin typeface="Calibri" panose="020F0502020204030204" pitchFamily="34" charset="0"/>
                <a:ea typeface="Calibri" panose="020F0502020204030204" pitchFamily="34" charset="0"/>
              </a:rPr>
              <a:t>GraphAPI</a:t>
            </a:r>
            <a:r>
              <a:rPr lang="en-US" sz="1210" dirty="0">
                <a:effectLst/>
                <a:latin typeface="Calibri" panose="020F0502020204030204" pitchFamily="34" charset="0"/>
                <a:ea typeface="Calibri" panose="020F0502020204030204" pitchFamily="34" charset="0"/>
              </a:rPr>
              <a:t> support for managing retention labels &amp; events</a:t>
            </a:r>
          </a:p>
          <a:p>
            <a:pPr marL="457200" indent="-457200">
              <a:buFont typeface="Arial" panose="020B0604020202020204" pitchFamily="34" charset="0"/>
              <a:buChar char="•"/>
            </a:pPr>
            <a:endParaRPr lang="en-US" dirty="0"/>
          </a:p>
        </p:txBody>
      </p:sp>
      <p:sp>
        <p:nvSpPr>
          <p:cNvPr id="2" name="Title 1">
            <a:extLst>
              <a:ext uri="{FF2B5EF4-FFF2-40B4-BE49-F238E27FC236}">
                <a16:creationId xmlns:a16="http://schemas.microsoft.com/office/drawing/2014/main" id="{8C7ABA0C-32E2-4E1F-AFC3-EAFB1B1CE21A}"/>
              </a:ext>
            </a:extLst>
          </p:cNvPr>
          <p:cNvSpPr>
            <a:spLocks noGrp="1"/>
          </p:cNvSpPr>
          <p:nvPr>
            <p:ph type="title"/>
          </p:nvPr>
        </p:nvSpPr>
        <p:spPr/>
        <p:txBody>
          <a:bodyPr/>
          <a:lstStyle/>
          <a:p>
            <a:r>
              <a:rPr lang="en-US" dirty="0"/>
              <a:t>Specific to E5</a:t>
            </a:r>
          </a:p>
        </p:txBody>
      </p:sp>
    </p:spTree>
    <p:extLst>
      <p:ext uri="{BB962C8B-B14F-4D97-AF65-F5344CB8AC3E}">
        <p14:creationId xmlns:p14="http://schemas.microsoft.com/office/powerpoint/2010/main" val="38578460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ABA0C-32E2-4E1F-AFC3-EAFB1B1CE21A}"/>
              </a:ext>
            </a:extLst>
          </p:cNvPr>
          <p:cNvSpPr>
            <a:spLocks noGrp="1"/>
          </p:cNvSpPr>
          <p:nvPr>
            <p:ph type="title"/>
          </p:nvPr>
        </p:nvSpPr>
        <p:spPr/>
        <p:txBody>
          <a:bodyPr/>
          <a:lstStyle/>
          <a:p>
            <a:r>
              <a:rPr lang="en-US" dirty="0"/>
              <a:t>Additional Roadmap Elements</a:t>
            </a:r>
          </a:p>
        </p:txBody>
      </p:sp>
      <p:pic>
        <p:nvPicPr>
          <p:cNvPr id="7" name="Picture 6">
            <a:extLst>
              <a:ext uri="{FF2B5EF4-FFF2-40B4-BE49-F238E27FC236}">
                <a16:creationId xmlns:a16="http://schemas.microsoft.com/office/drawing/2014/main" id="{84D5A82A-43E0-4640-B371-6FCA57FF501A}"/>
              </a:ext>
            </a:extLst>
          </p:cNvPr>
          <p:cNvPicPr>
            <a:picLocks noChangeAspect="1"/>
          </p:cNvPicPr>
          <p:nvPr/>
        </p:nvPicPr>
        <p:blipFill>
          <a:blip r:embed="rId2"/>
          <a:stretch>
            <a:fillRect/>
          </a:stretch>
        </p:blipFill>
        <p:spPr>
          <a:xfrm>
            <a:off x="418016" y="4181310"/>
            <a:ext cx="10620453" cy="1409710"/>
          </a:xfrm>
          <a:prstGeom prst="rect">
            <a:avLst/>
          </a:prstGeom>
        </p:spPr>
      </p:pic>
      <p:pic>
        <p:nvPicPr>
          <p:cNvPr id="9" name="Picture 8">
            <a:extLst>
              <a:ext uri="{FF2B5EF4-FFF2-40B4-BE49-F238E27FC236}">
                <a16:creationId xmlns:a16="http://schemas.microsoft.com/office/drawing/2014/main" id="{F14853CD-BF8B-4B82-8A50-3A28F3686BD6}"/>
              </a:ext>
            </a:extLst>
          </p:cNvPr>
          <p:cNvPicPr>
            <a:picLocks noChangeAspect="1"/>
          </p:cNvPicPr>
          <p:nvPr/>
        </p:nvPicPr>
        <p:blipFill>
          <a:blip r:embed="rId3"/>
          <a:stretch>
            <a:fillRect/>
          </a:stretch>
        </p:blipFill>
        <p:spPr>
          <a:xfrm>
            <a:off x="709456" y="3055139"/>
            <a:ext cx="10444239" cy="852494"/>
          </a:xfrm>
          <a:prstGeom prst="rect">
            <a:avLst/>
          </a:prstGeom>
        </p:spPr>
      </p:pic>
      <p:sp>
        <p:nvSpPr>
          <p:cNvPr id="11" name="TextBox 10">
            <a:extLst>
              <a:ext uri="{FF2B5EF4-FFF2-40B4-BE49-F238E27FC236}">
                <a16:creationId xmlns:a16="http://schemas.microsoft.com/office/drawing/2014/main" id="{D4AB810B-AB56-4491-968E-937D914C9F47}"/>
              </a:ext>
            </a:extLst>
          </p:cNvPr>
          <p:cNvSpPr txBox="1"/>
          <p:nvPr/>
        </p:nvSpPr>
        <p:spPr>
          <a:xfrm>
            <a:off x="3683190" y="6233193"/>
            <a:ext cx="609713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800" b="0" i="0" u="none" strike="noStrike" kern="1200" cap="none" spc="0" normalizeH="0" baseline="0" noProof="0" dirty="0">
                <a:ln>
                  <a:noFill/>
                </a:ln>
                <a:solidFill>
                  <a:srgbClr val="282828"/>
                </a:solidFill>
                <a:effectLst/>
                <a:uLnTx/>
                <a:uFillTx/>
                <a:latin typeface="Segoe UI"/>
                <a:ea typeface="+mn-ea"/>
                <a:cs typeface="+mn-cs"/>
                <a:hlinkClick r:id="rId4"/>
              </a:rPr>
              <a:t>Microsoft 365 Roadmap | Microsoft 365</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pic>
        <p:nvPicPr>
          <p:cNvPr id="13" name="Picture 12">
            <a:extLst>
              <a:ext uri="{FF2B5EF4-FFF2-40B4-BE49-F238E27FC236}">
                <a16:creationId xmlns:a16="http://schemas.microsoft.com/office/drawing/2014/main" id="{A526B848-D4BF-48E2-A00B-ACE0739E5687}"/>
              </a:ext>
            </a:extLst>
          </p:cNvPr>
          <p:cNvPicPr>
            <a:picLocks noChangeAspect="1"/>
          </p:cNvPicPr>
          <p:nvPr/>
        </p:nvPicPr>
        <p:blipFill>
          <a:blip r:embed="rId5"/>
          <a:stretch>
            <a:fillRect/>
          </a:stretch>
        </p:blipFill>
        <p:spPr>
          <a:xfrm>
            <a:off x="709456" y="2019118"/>
            <a:ext cx="10410901" cy="928694"/>
          </a:xfrm>
          <a:prstGeom prst="rect">
            <a:avLst/>
          </a:prstGeom>
        </p:spPr>
      </p:pic>
      <p:pic>
        <p:nvPicPr>
          <p:cNvPr id="15" name="Picture 14">
            <a:extLst>
              <a:ext uri="{FF2B5EF4-FFF2-40B4-BE49-F238E27FC236}">
                <a16:creationId xmlns:a16="http://schemas.microsoft.com/office/drawing/2014/main" id="{501F05AB-1BB9-4394-A404-9957D0831959}"/>
              </a:ext>
            </a:extLst>
          </p:cNvPr>
          <p:cNvPicPr>
            <a:picLocks noChangeAspect="1"/>
          </p:cNvPicPr>
          <p:nvPr/>
        </p:nvPicPr>
        <p:blipFill>
          <a:blip r:embed="rId6"/>
          <a:stretch>
            <a:fillRect/>
          </a:stretch>
        </p:blipFill>
        <p:spPr>
          <a:xfrm>
            <a:off x="716280" y="1032001"/>
            <a:ext cx="10491864" cy="852494"/>
          </a:xfrm>
          <a:prstGeom prst="rect">
            <a:avLst/>
          </a:prstGeom>
        </p:spPr>
      </p:pic>
    </p:spTree>
    <p:extLst>
      <p:ext uri="{BB962C8B-B14F-4D97-AF65-F5344CB8AC3E}">
        <p14:creationId xmlns:p14="http://schemas.microsoft.com/office/powerpoint/2010/main" val="413362057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D3389B-FBB1-46EB-BD80-7179C73DB7D4}"/>
              </a:ext>
            </a:extLst>
          </p:cNvPr>
          <p:cNvSpPr>
            <a:spLocks noGrp="1"/>
          </p:cNvSpPr>
          <p:nvPr>
            <p:ph type="title"/>
          </p:nvPr>
        </p:nvSpPr>
        <p:spPr/>
        <p:txBody>
          <a:bodyPr/>
          <a:lstStyle/>
          <a:p>
            <a:r>
              <a:rPr lang="en-US" dirty="0"/>
              <a:t>Vision</a:t>
            </a:r>
          </a:p>
        </p:txBody>
      </p:sp>
      <p:sp>
        <p:nvSpPr>
          <p:cNvPr id="3" name="Text Placeholder 2">
            <a:extLst>
              <a:ext uri="{FF2B5EF4-FFF2-40B4-BE49-F238E27FC236}">
                <a16:creationId xmlns:a16="http://schemas.microsoft.com/office/drawing/2014/main" id="{E175B503-6FC4-4734-B2FA-A3C2A2DD0807}"/>
              </a:ext>
            </a:extLst>
          </p:cNvPr>
          <p:cNvSpPr>
            <a:spLocks noGrp="1"/>
          </p:cNvSpPr>
          <p:nvPr>
            <p:ph type="body" sz="quarter" idx="10"/>
          </p:nvPr>
        </p:nvSpPr>
        <p:spPr>
          <a:xfrm>
            <a:off x="584200" y="1435100"/>
            <a:ext cx="11392012" cy="3600986"/>
          </a:xfrm>
        </p:spPr>
        <p:txBody>
          <a:bodyPr/>
          <a:lstStyle/>
          <a:p>
            <a:r>
              <a:rPr lang="en-US" sz="2400" dirty="0"/>
              <a:t>1. an idea or mental image of something</a:t>
            </a:r>
          </a:p>
          <a:p>
            <a:r>
              <a:rPr lang="en-US" sz="2400" dirty="0"/>
              <a:t>2. an experience in which you see things that do not exist physically […]</a:t>
            </a:r>
          </a:p>
          <a:p>
            <a:r>
              <a:rPr lang="en-US" sz="2400" dirty="0"/>
              <a:t>3. the ability to imagine how a country, society, industry, etc. </a:t>
            </a:r>
            <a:br>
              <a:rPr lang="en-US" sz="2400" dirty="0"/>
            </a:br>
            <a:r>
              <a:rPr lang="en-US" sz="2400" dirty="0"/>
              <a:t>    could develop in the future and to plan for this</a:t>
            </a:r>
          </a:p>
          <a:p>
            <a:endParaRPr lang="en-US" sz="1800" dirty="0"/>
          </a:p>
          <a:p>
            <a:r>
              <a:rPr lang="en-US" sz="1800" dirty="0">
                <a:hlinkClick r:id="rId2"/>
              </a:rPr>
              <a:t>https://dictionary.cambridge.org/dictionary/english/vision</a:t>
            </a:r>
            <a:endParaRPr lang="en-US" sz="1800" dirty="0"/>
          </a:p>
          <a:p>
            <a:endParaRPr lang="en-US" sz="1800" dirty="0"/>
          </a:p>
          <a:p>
            <a:endParaRPr lang="en-US" sz="2400" dirty="0"/>
          </a:p>
        </p:txBody>
      </p:sp>
    </p:spTree>
    <p:extLst>
      <p:ext uri="{BB962C8B-B14F-4D97-AF65-F5344CB8AC3E}">
        <p14:creationId xmlns:p14="http://schemas.microsoft.com/office/powerpoint/2010/main" val="179967716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Information Governance – Definition</a:t>
            </a:r>
          </a:p>
        </p:txBody>
      </p:sp>
      <p:sp>
        <p:nvSpPr>
          <p:cNvPr id="3" name="TextBox 2">
            <a:extLst>
              <a:ext uri="{FF2B5EF4-FFF2-40B4-BE49-F238E27FC236}">
                <a16:creationId xmlns:a16="http://schemas.microsoft.com/office/drawing/2014/main" id="{09E7E70F-AB78-4353-9122-54105D024685}"/>
              </a:ext>
            </a:extLst>
          </p:cNvPr>
          <p:cNvSpPr txBox="1"/>
          <p:nvPr/>
        </p:nvSpPr>
        <p:spPr>
          <a:xfrm>
            <a:off x="1157690" y="1893004"/>
            <a:ext cx="10171096" cy="3877985"/>
          </a:xfrm>
          <a:prstGeom prst="rect">
            <a:avLst/>
          </a:prstGeom>
          <a:noFill/>
        </p:spPr>
        <p:txBody>
          <a:bodyPr wrap="square" lIns="0" tIns="0" rIns="0" bIns="0" rtlCol="0">
            <a:spAutoFit/>
          </a:bodyPr>
          <a:lstStyle/>
          <a:p>
            <a:pPr algn="ctr"/>
            <a:r>
              <a:rPr lang="en-US" sz="3600" i="1" dirty="0"/>
              <a:t>Data Lifecycle Management protects </a:t>
            </a:r>
          </a:p>
          <a:p>
            <a:pPr algn="ctr"/>
            <a:r>
              <a:rPr lang="en-US" sz="3600" i="1" dirty="0"/>
              <a:t>important data during its retention period</a:t>
            </a:r>
          </a:p>
          <a:p>
            <a:pPr algn="ctr"/>
            <a:r>
              <a:rPr lang="en-US" sz="3600" i="1" dirty="0"/>
              <a:t>It also erases old data </a:t>
            </a:r>
          </a:p>
          <a:p>
            <a:pPr algn="ctr"/>
            <a:endParaRPr lang="en-US" sz="3600" i="1" dirty="0"/>
          </a:p>
          <a:p>
            <a:pPr algn="ctr"/>
            <a:r>
              <a:rPr lang="en-US" sz="3600" i="1" dirty="0"/>
              <a:t>Records Management prevents </a:t>
            </a:r>
          </a:p>
          <a:p>
            <a:pPr algn="ctr"/>
            <a:r>
              <a:rPr lang="en-US" sz="3600" i="1" dirty="0"/>
              <a:t>records updates or deletion</a:t>
            </a:r>
          </a:p>
          <a:p>
            <a:pPr algn="ctr"/>
            <a:endParaRPr lang="en-US" sz="3600" i="1" dirty="0"/>
          </a:p>
        </p:txBody>
      </p:sp>
    </p:spTree>
    <p:extLst>
      <p:ext uri="{BB962C8B-B14F-4D97-AF65-F5344CB8AC3E}">
        <p14:creationId xmlns:p14="http://schemas.microsoft.com/office/powerpoint/2010/main" val="891738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Information Governance</a:t>
            </a:r>
            <a:r>
              <a:rPr kumimoji="0" lang="en-US" sz="2000" b="0" i="0" u="none" strike="noStrike" kern="1200" cap="none" spc="0" normalizeH="0" baseline="0" noProof="0" dirty="0">
                <a:ln>
                  <a:noFill/>
                </a:ln>
                <a:solidFill>
                  <a:srgbClr val="FFFFFF"/>
                </a:solidFill>
                <a:effectLst/>
                <a:uLnTx/>
                <a:uFillTx/>
                <a:latin typeface="Segoe UI"/>
                <a:ea typeface="+mn-ea"/>
                <a:cs typeface="+mn-cs"/>
              </a:rPr>
              <a:t> – Context</a:t>
            </a:r>
          </a:p>
        </p:txBody>
      </p:sp>
      <p:sp>
        <p:nvSpPr>
          <p:cNvPr id="97" name="Freeform 70">
            <a:extLst>
              <a:ext uri="{FF2B5EF4-FFF2-40B4-BE49-F238E27FC236}">
                <a16:creationId xmlns:a16="http://schemas.microsoft.com/office/drawing/2014/main" id="{CB615FBA-10D8-4B3D-8F79-F013681FA95C}"/>
              </a:ext>
            </a:extLst>
          </p:cNvPr>
          <p:cNvSpPr>
            <a:spLocks/>
          </p:cNvSpPr>
          <p:nvPr/>
        </p:nvSpPr>
        <p:spPr bwMode="auto">
          <a:xfrm>
            <a:off x="5435600" y="490538"/>
            <a:ext cx="1155700" cy="434975"/>
          </a:xfrm>
          <a:custGeom>
            <a:avLst/>
            <a:gdLst>
              <a:gd name="T0" fmla="*/ 323 w 3232"/>
              <a:gd name="T1" fmla="*/ 1216 h 1216"/>
              <a:gd name="T2" fmla="*/ 2909 w 3232"/>
              <a:gd name="T3" fmla="*/ 1216 h 1216"/>
              <a:gd name="T4" fmla="*/ 3232 w 3232"/>
              <a:gd name="T5" fmla="*/ 892 h 1216"/>
              <a:gd name="T6" fmla="*/ 3232 w 3232"/>
              <a:gd name="T7" fmla="*/ 323 h 1216"/>
              <a:gd name="T8" fmla="*/ 2909 w 3232"/>
              <a:gd name="T9" fmla="*/ 0 h 1216"/>
              <a:gd name="T10" fmla="*/ 323 w 3232"/>
              <a:gd name="T11" fmla="*/ 0 h 1216"/>
              <a:gd name="T12" fmla="*/ 0 w 3232"/>
              <a:gd name="T13" fmla="*/ 323 h 1216"/>
              <a:gd name="T14" fmla="*/ 0 w 3232"/>
              <a:gd name="T15" fmla="*/ 892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2"/>
                </a:cubicBezTo>
                <a:lnTo>
                  <a:pt x="3232" y="323"/>
                </a:lnTo>
                <a:cubicBezTo>
                  <a:pt x="3232" y="144"/>
                  <a:pt x="3087" y="0"/>
                  <a:pt x="2909" y="0"/>
                </a:cubicBezTo>
                <a:lnTo>
                  <a:pt x="323" y="0"/>
                </a:lnTo>
                <a:cubicBezTo>
                  <a:pt x="145" y="0"/>
                  <a:pt x="0" y="144"/>
                  <a:pt x="0" y="323"/>
                </a:cubicBezTo>
                <a:lnTo>
                  <a:pt x="0" y="892"/>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71">
            <a:extLst>
              <a:ext uri="{FF2B5EF4-FFF2-40B4-BE49-F238E27FC236}">
                <a16:creationId xmlns:a16="http://schemas.microsoft.com/office/drawing/2014/main" id="{FAB07272-0E42-4BB3-BCA3-BBF1EAC3E3C6}"/>
              </a:ext>
            </a:extLst>
          </p:cNvPr>
          <p:cNvSpPr>
            <a:spLocks/>
          </p:cNvSpPr>
          <p:nvPr/>
        </p:nvSpPr>
        <p:spPr bwMode="auto">
          <a:xfrm>
            <a:off x="5435600" y="490538"/>
            <a:ext cx="1155700" cy="434975"/>
          </a:xfrm>
          <a:custGeom>
            <a:avLst/>
            <a:gdLst>
              <a:gd name="T0" fmla="*/ 323 w 3232"/>
              <a:gd name="T1" fmla="*/ 1216 h 1216"/>
              <a:gd name="T2" fmla="*/ 2909 w 3232"/>
              <a:gd name="T3" fmla="*/ 1216 h 1216"/>
              <a:gd name="T4" fmla="*/ 3232 w 3232"/>
              <a:gd name="T5" fmla="*/ 892 h 1216"/>
              <a:gd name="T6" fmla="*/ 3232 w 3232"/>
              <a:gd name="T7" fmla="*/ 323 h 1216"/>
              <a:gd name="T8" fmla="*/ 2909 w 3232"/>
              <a:gd name="T9" fmla="*/ 0 h 1216"/>
              <a:gd name="T10" fmla="*/ 323 w 3232"/>
              <a:gd name="T11" fmla="*/ 0 h 1216"/>
              <a:gd name="T12" fmla="*/ 0 w 3232"/>
              <a:gd name="T13" fmla="*/ 323 h 1216"/>
              <a:gd name="T14" fmla="*/ 0 w 3232"/>
              <a:gd name="T15" fmla="*/ 892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2"/>
                </a:cubicBezTo>
                <a:lnTo>
                  <a:pt x="3232" y="323"/>
                </a:lnTo>
                <a:cubicBezTo>
                  <a:pt x="3232" y="144"/>
                  <a:pt x="3087" y="0"/>
                  <a:pt x="2909" y="0"/>
                </a:cubicBezTo>
                <a:lnTo>
                  <a:pt x="323" y="0"/>
                </a:lnTo>
                <a:cubicBezTo>
                  <a:pt x="145" y="0"/>
                  <a:pt x="0" y="144"/>
                  <a:pt x="0" y="323"/>
                </a:cubicBezTo>
                <a:lnTo>
                  <a:pt x="0" y="892"/>
                </a:lnTo>
                <a:cubicBezTo>
                  <a:pt x="0" y="1071"/>
                  <a:pt x="145" y="1216"/>
                  <a:pt x="323" y="1216"/>
                </a:cubicBez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9" name="Rectangle 72">
            <a:extLst>
              <a:ext uri="{FF2B5EF4-FFF2-40B4-BE49-F238E27FC236}">
                <a16:creationId xmlns:a16="http://schemas.microsoft.com/office/drawing/2014/main" id="{6D0A27D3-1B36-41C4-967F-FF02BC3DD28A}"/>
              </a:ext>
            </a:extLst>
          </p:cNvPr>
          <p:cNvSpPr>
            <a:spLocks noChangeArrowheads="1"/>
          </p:cNvSpPr>
          <p:nvPr/>
        </p:nvSpPr>
        <p:spPr bwMode="auto">
          <a:xfrm>
            <a:off x="5678488" y="538163"/>
            <a:ext cx="7826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Calibri" panose="020F0502020204030204" pitchFamily="34" charset="0"/>
              </a:rPr>
              <a:t>Retention &amp;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0" name="Rectangle 73">
            <a:extLst>
              <a:ext uri="{FF2B5EF4-FFF2-40B4-BE49-F238E27FC236}">
                <a16:creationId xmlns:a16="http://schemas.microsoft.com/office/drawing/2014/main" id="{72DC5E39-62D8-4955-A2A9-571784810B82}"/>
              </a:ext>
            </a:extLst>
          </p:cNvPr>
          <p:cNvSpPr>
            <a:spLocks noChangeArrowheads="1"/>
          </p:cNvSpPr>
          <p:nvPr/>
        </p:nvSpPr>
        <p:spPr bwMode="auto">
          <a:xfrm>
            <a:off x="5540375" y="704850"/>
            <a:ext cx="10302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Calibri" panose="020F0502020204030204" pitchFamily="34" charset="0"/>
              </a:rPr>
              <a:t>Deletion Setting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4" name="Rectangle 77">
            <a:extLst>
              <a:ext uri="{FF2B5EF4-FFF2-40B4-BE49-F238E27FC236}">
                <a16:creationId xmlns:a16="http://schemas.microsoft.com/office/drawing/2014/main" id="{66ED543D-B50E-4920-90D8-BB5E682970DA}"/>
              </a:ext>
            </a:extLst>
          </p:cNvPr>
          <p:cNvSpPr>
            <a:spLocks noChangeArrowheads="1"/>
          </p:cNvSpPr>
          <p:nvPr/>
        </p:nvSpPr>
        <p:spPr bwMode="auto">
          <a:xfrm>
            <a:off x="6672263" y="549275"/>
            <a:ext cx="412750"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Segoe UI" panose="020B0502040204020203" pitchFamily="34" charset="0"/>
              </a:rPr>
              <a:t>Label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5" name="Rectangle 78">
            <a:extLst>
              <a:ext uri="{FF2B5EF4-FFF2-40B4-BE49-F238E27FC236}">
                <a16:creationId xmlns:a16="http://schemas.microsoft.com/office/drawing/2014/main" id="{C2E5FE47-AFD5-4192-9A0B-10A38C935E91}"/>
              </a:ext>
            </a:extLst>
          </p:cNvPr>
          <p:cNvSpPr>
            <a:spLocks noChangeArrowheads="1"/>
          </p:cNvSpPr>
          <p:nvPr/>
        </p:nvSpPr>
        <p:spPr bwMode="auto">
          <a:xfrm>
            <a:off x="6672263" y="695325"/>
            <a:ext cx="481013"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Polici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141" name="Group 140">
            <a:extLst>
              <a:ext uri="{FF2B5EF4-FFF2-40B4-BE49-F238E27FC236}">
                <a16:creationId xmlns:a16="http://schemas.microsoft.com/office/drawing/2014/main" id="{18338E44-A85A-4156-B972-9A87091319A8}"/>
              </a:ext>
            </a:extLst>
          </p:cNvPr>
          <p:cNvGrpSpPr/>
          <p:nvPr/>
        </p:nvGrpSpPr>
        <p:grpSpPr>
          <a:xfrm>
            <a:off x="3671888" y="1587500"/>
            <a:ext cx="6267450" cy="1239838"/>
            <a:chOff x="3671888" y="1587500"/>
            <a:chExt cx="6267450" cy="1239838"/>
          </a:xfrm>
        </p:grpSpPr>
        <p:sp>
          <p:nvSpPr>
            <p:cNvPr id="79" name="Freeform 52">
              <a:extLst>
                <a:ext uri="{FF2B5EF4-FFF2-40B4-BE49-F238E27FC236}">
                  <a16:creationId xmlns:a16="http://schemas.microsoft.com/office/drawing/2014/main" id="{B10183A8-FBD0-4604-B6AE-E010960117AF}"/>
                </a:ext>
              </a:extLst>
            </p:cNvPr>
            <p:cNvSpPr>
              <a:spLocks/>
            </p:cNvSpPr>
            <p:nvPr/>
          </p:nvSpPr>
          <p:spPr bwMode="auto">
            <a:xfrm>
              <a:off x="3671888" y="1817688"/>
              <a:ext cx="1155700" cy="434975"/>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4"/>
                    <a:pt x="3087" y="0"/>
                    <a:pt x="2909" y="0"/>
                  </a:cubicBezTo>
                  <a:lnTo>
                    <a:pt x="323" y="0"/>
                  </a:lnTo>
                  <a:cubicBezTo>
                    <a:pt x="145" y="0"/>
                    <a:pt x="0" y="144"/>
                    <a:pt x="0" y="323"/>
                  </a:cubicBezTo>
                  <a:lnTo>
                    <a:pt x="0" y="893"/>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53">
              <a:extLst>
                <a:ext uri="{FF2B5EF4-FFF2-40B4-BE49-F238E27FC236}">
                  <a16:creationId xmlns:a16="http://schemas.microsoft.com/office/drawing/2014/main" id="{59BCA94D-4B6D-4907-8896-5890B09D7A17}"/>
                </a:ext>
              </a:extLst>
            </p:cNvPr>
            <p:cNvSpPr>
              <a:spLocks/>
            </p:cNvSpPr>
            <p:nvPr/>
          </p:nvSpPr>
          <p:spPr bwMode="auto">
            <a:xfrm>
              <a:off x="3671888" y="1817688"/>
              <a:ext cx="1155700" cy="434975"/>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4"/>
                    <a:pt x="3087" y="0"/>
                    <a:pt x="2909" y="0"/>
                  </a:cubicBezTo>
                  <a:lnTo>
                    <a:pt x="323" y="0"/>
                  </a:lnTo>
                  <a:cubicBezTo>
                    <a:pt x="145" y="0"/>
                    <a:pt x="0" y="144"/>
                    <a:pt x="0" y="323"/>
                  </a:cubicBezTo>
                  <a:lnTo>
                    <a:pt x="0" y="893"/>
                  </a:lnTo>
                  <a:cubicBezTo>
                    <a:pt x="0" y="1071"/>
                    <a:pt x="145" y="1216"/>
                    <a:pt x="323" y="1216"/>
                  </a:cubicBez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Rectangle 54">
              <a:extLst>
                <a:ext uri="{FF2B5EF4-FFF2-40B4-BE49-F238E27FC236}">
                  <a16:creationId xmlns:a16="http://schemas.microsoft.com/office/drawing/2014/main" id="{9120514C-9EA7-4868-A967-B049AEBF48DA}"/>
                </a:ext>
              </a:extLst>
            </p:cNvPr>
            <p:cNvSpPr>
              <a:spLocks noChangeArrowheads="1"/>
            </p:cNvSpPr>
            <p:nvPr/>
          </p:nvSpPr>
          <p:spPr bwMode="auto">
            <a:xfrm>
              <a:off x="3976688" y="1949450"/>
              <a:ext cx="6238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Calibri" panose="020F0502020204030204" pitchFamily="34" charset="0"/>
                </a:rPr>
                <a:t>Reten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2" name="Freeform 55">
              <a:extLst>
                <a:ext uri="{FF2B5EF4-FFF2-40B4-BE49-F238E27FC236}">
                  <a16:creationId xmlns:a16="http://schemas.microsoft.com/office/drawing/2014/main" id="{C0733CBA-DCF5-49BF-B36C-FA1FA56993D9}"/>
                </a:ext>
              </a:extLst>
            </p:cNvPr>
            <p:cNvSpPr>
              <a:spLocks/>
            </p:cNvSpPr>
            <p:nvPr/>
          </p:nvSpPr>
          <p:spPr bwMode="auto">
            <a:xfrm>
              <a:off x="5402263" y="1817688"/>
              <a:ext cx="1155700" cy="434975"/>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4"/>
                    <a:pt x="3087" y="0"/>
                    <a:pt x="2909" y="0"/>
                  </a:cubicBezTo>
                  <a:lnTo>
                    <a:pt x="323" y="0"/>
                  </a:lnTo>
                  <a:cubicBezTo>
                    <a:pt x="145" y="0"/>
                    <a:pt x="0" y="144"/>
                    <a:pt x="0" y="323"/>
                  </a:cubicBezTo>
                  <a:lnTo>
                    <a:pt x="0" y="893"/>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56">
              <a:extLst>
                <a:ext uri="{FF2B5EF4-FFF2-40B4-BE49-F238E27FC236}">
                  <a16:creationId xmlns:a16="http://schemas.microsoft.com/office/drawing/2014/main" id="{E1624FB5-AFF4-4F19-90F0-55DAE12A204C}"/>
                </a:ext>
              </a:extLst>
            </p:cNvPr>
            <p:cNvSpPr>
              <a:spLocks/>
            </p:cNvSpPr>
            <p:nvPr/>
          </p:nvSpPr>
          <p:spPr bwMode="auto">
            <a:xfrm>
              <a:off x="5402263" y="1817688"/>
              <a:ext cx="1155700" cy="434975"/>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4"/>
                    <a:pt x="3087" y="0"/>
                    <a:pt x="2909" y="0"/>
                  </a:cubicBezTo>
                  <a:lnTo>
                    <a:pt x="323" y="0"/>
                  </a:lnTo>
                  <a:cubicBezTo>
                    <a:pt x="145" y="0"/>
                    <a:pt x="0" y="144"/>
                    <a:pt x="0" y="323"/>
                  </a:cubicBezTo>
                  <a:lnTo>
                    <a:pt x="0" y="893"/>
                  </a:lnTo>
                  <a:cubicBezTo>
                    <a:pt x="0" y="1071"/>
                    <a:pt x="145" y="1216"/>
                    <a:pt x="323" y="1216"/>
                  </a:cubicBez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4" name="Rectangle 57">
              <a:extLst>
                <a:ext uri="{FF2B5EF4-FFF2-40B4-BE49-F238E27FC236}">
                  <a16:creationId xmlns:a16="http://schemas.microsoft.com/office/drawing/2014/main" id="{B13CB41B-383E-431E-AEA8-C9918DA2869E}"/>
                </a:ext>
              </a:extLst>
            </p:cNvPr>
            <p:cNvSpPr>
              <a:spLocks noChangeArrowheads="1"/>
            </p:cNvSpPr>
            <p:nvPr/>
          </p:nvSpPr>
          <p:spPr bwMode="auto">
            <a:xfrm>
              <a:off x="5672138" y="1865313"/>
              <a:ext cx="6985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Calibri" panose="020F0502020204030204" pitchFamily="34" charset="0"/>
                </a:rPr>
                <a:t>Disposi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5" name="Rectangle 58">
              <a:extLst>
                <a:ext uri="{FF2B5EF4-FFF2-40B4-BE49-F238E27FC236}">
                  <a16:creationId xmlns:a16="http://schemas.microsoft.com/office/drawing/2014/main" id="{DB0FAA03-82BB-4CD4-867A-0DA1C84E6BA2}"/>
                </a:ext>
              </a:extLst>
            </p:cNvPr>
            <p:cNvSpPr>
              <a:spLocks noChangeArrowheads="1"/>
            </p:cNvSpPr>
            <p:nvPr/>
          </p:nvSpPr>
          <p:spPr bwMode="auto">
            <a:xfrm>
              <a:off x="5781675" y="2032000"/>
              <a:ext cx="4746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Calibri" panose="020F0502020204030204" pitchFamily="34" charset="0"/>
                </a:rPr>
                <a:t>Review</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6" name="Freeform 59">
              <a:extLst>
                <a:ext uri="{FF2B5EF4-FFF2-40B4-BE49-F238E27FC236}">
                  <a16:creationId xmlns:a16="http://schemas.microsoft.com/office/drawing/2014/main" id="{598075B4-B369-4DEF-AA3C-8D8D3A855AC6}"/>
                </a:ext>
              </a:extLst>
            </p:cNvPr>
            <p:cNvSpPr>
              <a:spLocks/>
            </p:cNvSpPr>
            <p:nvPr/>
          </p:nvSpPr>
          <p:spPr bwMode="auto">
            <a:xfrm>
              <a:off x="7132638" y="1817688"/>
              <a:ext cx="1155700" cy="434975"/>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4"/>
                    <a:pt x="3087" y="0"/>
                    <a:pt x="2909" y="0"/>
                  </a:cubicBezTo>
                  <a:lnTo>
                    <a:pt x="323" y="0"/>
                  </a:lnTo>
                  <a:cubicBezTo>
                    <a:pt x="145" y="0"/>
                    <a:pt x="0" y="144"/>
                    <a:pt x="0" y="323"/>
                  </a:cubicBezTo>
                  <a:lnTo>
                    <a:pt x="0" y="893"/>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60">
              <a:extLst>
                <a:ext uri="{FF2B5EF4-FFF2-40B4-BE49-F238E27FC236}">
                  <a16:creationId xmlns:a16="http://schemas.microsoft.com/office/drawing/2014/main" id="{20796B8B-46BF-4032-AEB9-5480FFFAEDC7}"/>
                </a:ext>
              </a:extLst>
            </p:cNvPr>
            <p:cNvSpPr>
              <a:spLocks/>
            </p:cNvSpPr>
            <p:nvPr/>
          </p:nvSpPr>
          <p:spPr bwMode="auto">
            <a:xfrm>
              <a:off x="7132638" y="1817688"/>
              <a:ext cx="1155700" cy="434975"/>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4"/>
                    <a:pt x="3087" y="0"/>
                    <a:pt x="2909" y="0"/>
                  </a:cubicBezTo>
                  <a:lnTo>
                    <a:pt x="323" y="0"/>
                  </a:lnTo>
                  <a:cubicBezTo>
                    <a:pt x="145" y="0"/>
                    <a:pt x="0" y="144"/>
                    <a:pt x="0" y="323"/>
                  </a:cubicBezTo>
                  <a:lnTo>
                    <a:pt x="0" y="893"/>
                  </a:lnTo>
                  <a:cubicBezTo>
                    <a:pt x="0" y="1071"/>
                    <a:pt x="145" y="1216"/>
                    <a:pt x="323" y="1216"/>
                  </a:cubicBez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 name="Rectangle 61">
              <a:extLst>
                <a:ext uri="{FF2B5EF4-FFF2-40B4-BE49-F238E27FC236}">
                  <a16:creationId xmlns:a16="http://schemas.microsoft.com/office/drawing/2014/main" id="{56470164-C09E-46B1-8CD8-9FE3E7087952}"/>
                </a:ext>
              </a:extLst>
            </p:cNvPr>
            <p:cNvSpPr>
              <a:spLocks noChangeArrowheads="1"/>
            </p:cNvSpPr>
            <p:nvPr/>
          </p:nvSpPr>
          <p:spPr bwMode="auto">
            <a:xfrm>
              <a:off x="7477125" y="1949450"/>
              <a:ext cx="5476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Calibri" panose="020F0502020204030204" pitchFamily="34" charset="0"/>
                </a:rPr>
                <a:t>Dele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9" name="Freeform 62">
              <a:extLst>
                <a:ext uri="{FF2B5EF4-FFF2-40B4-BE49-F238E27FC236}">
                  <a16:creationId xmlns:a16="http://schemas.microsoft.com/office/drawing/2014/main" id="{79BBA44E-595D-427A-9F6E-794C215851C0}"/>
                </a:ext>
              </a:extLst>
            </p:cNvPr>
            <p:cNvSpPr>
              <a:spLocks noEditPoints="1"/>
            </p:cNvSpPr>
            <p:nvPr/>
          </p:nvSpPr>
          <p:spPr bwMode="auto">
            <a:xfrm>
              <a:off x="4822825" y="2028825"/>
              <a:ext cx="503238" cy="12700"/>
            </a:xfrm>
            <a:custGeom>
              <a:avLst/>
              <a:gdLst>
                <a:gd name="T0" fmla="*/ 16 w 1408"/>
                <a:gd name="T1" fmla="*/ 0 h 32"/>
                <a:gd name="T2" fmla="*/ 240 w 1408"/>
                <a:gd name="T3" fmla="*/ 0 h 32"/>
                <a:gd name="T4" fmla="*/ 256 w 1408"/>
                <a:gd name="T5" fmla="*/ 16 h 32"/>
                <a:gd name="T6" fmla="*/ 240 w 1408"/>
                <a:gd name="T7" fmla="*/ 32 h 32"/>
                <a:gd name="T8" fmla="*/ 16 w 1408"/>
                <a:gd name="T9" fmla="*/ 32 h 32"/>
                <a:gd name="T10" fmla="*/ 0 w 1408"/>
                <a:gd name="T11" fmla="*/ 16 h 32"/>
                <a:gd name="T12" fmla="*/ 16 w 1408"/>
                <a:gd name="T13" fmla="*/ 0 h 32"/>
                <a:gd name="T14" fmla="*/ 400 w 1408"/>
                <a:gd name="T15" fmla="*/ 0 h 32"/>
                <a:gd name="T16" fmla="*/ 624 w 1408"/>
                <a:gd name="T17" fmla="*/ 0 h 32"/>
                <a:gd name="T18" fmla="*/ 640 w 1408"/>
                <a:gd name="T19" fmla="*/ 16 h 32"/>
                <a:gd name="T20" fmla="*/ 624 w 1408"/>
                <a:gd name="T21" fmla="*/ 32 h 32"/>
                <a:gd name="T22" fmla="*/ 400 w 1408"/>
                <a:gd name="T23" fmla="*/ 32 h 32"/>
                <a:gd name="T24" fmla="*/ 384 w 1408"/>
                <a:gd name="T25" fmla="*/ 16 h 32"/>
                <a:gd name="T26" fmla="*/ 400 w 1408"/>
                <a:gd name="T27" fmla="*/ 0 h 32"/>
                <a:gd name="T28" fmla="*/ 784 w 1408"/>
                <a:gd name="T29" fmla="*/ 0 h 32"/>
                <a:gd name="T30" fmla="*/ 1008 w 1408"/>
                <a:gd name="T31" fmla="*/ 0 h 32"/>
                <a:gd name="T32" fmla="*/ 1024 w 1408"/>
                <a:gd name="T33" fmla="*/ 16 h 32"/>
                <a:gd name="T34" fmla="*/ 1008 w 1408"/>
                <a:gd name="T35" fmla="*/ 32 h 32"/>
                <a:gd name="T36" fmla="*/ 784 w 1408"/>
                <a:gd name="T37" fmla="*/ 32 h 32"/>
                <a:gd name="T38" fmla="*/ 768 w 1408"/>
                <a:gd name="T39" fmla="*/ 16 h 32"/>
                <a:gd name="T40" fmla="*/ 784 w 1408"/>
                <a:gd name="T41" fmla="*/ 0 h 32"/>
                <a:gd name="T42" fmla="*/ 1168 w 1408"/>
                <a:gd name="T43" fmla="*/ 0 h 32"/>
                <a:gd name="T44" fmla="*/ 1392 w 1408"/>
                <a:gd name="T45" fmla="*/ 0 h 32"/>
                <a:gd name="T46" fmla="*/ 1408 w 1408"/>
                <a:gd name="T47" fmla="*/ 16 h 32"/>
                <a:gd name="T48" fmla="*/ 1392 w 1408"/>
                <a:gd name="T49" fmla="*/ 32 h 32"/>
                <a:gd name="T50" fmla="*/ 1168 w 1408"/>
                <a:gd name="T51" fmla="*/ 32 h 32"/>
                <a:gd name="T52" fmla="*/ 1152 w 1408"/>
                <a:gd name="T53" fmla="*/ 16 h 32"/>
                <a:gd name="T54" fmla="*/ 1168 w 1408"/>
                <a:gd name="T5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08" h="32">
                  <a:moveTo>
                    <a:pt x="16" y="0"/>
                  </a:moveTo>
                  <a:lnTo>
                    <a:pt x="240" y="0"/>
                  </a:lnTo>
                  <a:cubicBezTo>
                    <a:pt x="249" y="0"/>
                    <a:pt x="256" y="7"/>
                    <a:pt x="256" y="16"/>
                  </a:cubicBezTo>
                  <a:cubicBezTo>
                    <a:pt x="256" y="25"/>
                    <a:pt x="249" y="32"/>
                    <a:pt x="240" y="32"/>
                  </a:cubicBezTo>
                  <a:lnTo>
                    <a:pt x="16" y="32"/>
                  </a:lnTo>
                  <a:cubicBezTo>
                    <a:pt x="7" y="32"/>
                    <a:pt x="0" y="25"/>
                    <a:pt x="0" y="16"/>
                  </a:cubicBezTo>
                  <a:cubicBezTo>
                    <a:pt x="0" y="7"/>
                    <a:pt x="7" y="0"/>
                    <a:pt x="16" y="0"/>
                  </a:cubicBezTo>
                  <a:close/>
                  <a:moveTo>
                    <a:pt x="400" y="0"/>
                  </a:moveTo>
                  <a:lnTo>
                    <a:pt x="624" y="0"/>
                  </a:lnTo>
                  <a:cubicBezTo>
                    <a:pt x="633" y="0"/>
                    <a:pt x="640" y="7"/>
                    <a:pt x="640" y="16"/>
                  </a:cubicBezTo>
                  <a:cubicBezTo>
                    <a:pt x="640" y="25"/>
                    <a:pt x="633" y="32"/>
                    <a:pt x="624" y="32"/>
                  </a:cubicBezTo>
                  <a:lnTo>
                    <a:pt x="400" y="32"/>
                  </a:lnTo>
                  <a:cubicBezTo>
                    <a:pt x="391" y="32"/>
                    <a:pt x="384" y="25"/>
                    <a:pt x="384" y="16"/>
                  </a:cubicBezTo>
                  <a:cubicBezTo>
                    <a:pt x="384" y="7"/>
                    <a:pt x="391" y="0"/>
                    <a:pt x="400" y="0"/>
                  </a:cubicBezTo>
                  <a:close/>
                  <a:moveTo>
                    <a:pt x="784" y="0"/>
                  </a:moveTo>
                  <a:lnTo>
                    <a:pt x="1008" y="0"/>
                  </a:lnTo>
                  <a:cubicBezTo>
                    <a:pt x="1017" y="0"/>
                    <a:pt x="1024" y="7"/>
                    <a:pt x="1024" y="16"/>
                  </a:cubicBezTo>
                  <a:cubicBezTo>
                    <a:pt x="1024" y="25"/>
                    <a:pt x="1017" y="32"/>
                    <a:pt x="1008" y="32"/>
                  </a:cubicBezTo>
                  <a:lnTo>
                    <a:pt x="784" y="32"/>
                  </a:lnTo>
                  <a:cubicBezTo>
                    <a:pt x="775" y="32"/>
                    <a:pt x="768" y="25"/>
                    <a:pt x="768" y="16"/>
                  </a:cubicBezTo>
                  <a:cubicBezTo>
                    <a:pt x="768" y="7"/>
                    <a:pt x="775" y="0"/>
                    <a:pt x="784" y="0"/>
                  </a:cubicBezTo>
                  <a:close/>
                  <a:moveTo>
                    <a:pt x="1168" y="0"/>
                  </a:moveTo>
                  <a:lnTo>
                    <a:pt x="1392" y="0"/>
                  </a:lnTo>
                  <a:cubicBezTo>
                    <a:pt x="1401" y="0"/>
                    <a:pt x="1408" y="7"/>
                    <a:pt x="1408" y="16"/>
                  </a:cubicBezTo>
                  <a:cubicBezTo>
                    <a:pt x="1408" y="25"/>
                    <a:pt x="1401" y="32"/>
                    <a:pt x="1392" y="32"/>
                  </a:cubicBezTo>
                  <a:lnTo>
                    <a:pt x="1168" y="32"/>
                  </a:lnTo>
                  <a:cubicBezTo>
                    <a:pt x="1159" y="32"/>
                    <a:pt x="1152" y="25"/>
                    <a:pt x="1152" y="16"/>
                  </a:cubicBezTo>
                  <a:cubicBezTo>
                    <a:pt x="1152" y="7"/>
                    <a:pt x="1159" y="0"/>
                    <a:pt x="1168"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63">
              <a:extLst>
                <a:ext uri="{FF2B5EF4-FFF2-40B4-BE49-F238E27FC236}">
                  <a16:creationId xmlns:a16="http://schemas.microsoft.com/office/drawing/2014/main" id="{3EB48291-E2C6-4EC0-89D9-5F41CF8EDE19}"/>
                </a:ext>
              </a:extLst>
            </p:cNvPr>
            <p:cNvSpPr>
              <a:spLocks/>
            </p:cNvSpPr>
            <p:nvPr/>
          </p:nvSpPr>
          <p:spPr bwMode="auto">
            <a:xfrm>
              <a:off x="5303838" y="1985963"/>
              <a:ext cx="98425" cy="98425"/>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1"/>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64">
              <a:extLst>
                <a:ext uri="{FF2B5EF4-FFF2-40B4-BE49-F238E27FC236}">
                  <a16:creationId xmlns:a16="http://schemas.microsoft.com/office/drawing/2014/main" id="{37A57919-6D2C-4F83-9173-7704E4194C43}"/>
                </a:ext>
              </a:extLst>
            </p:cNvPr>
            <p:cNvSpPr>
              <a:spLocks noEditPoints="1"/>
            </p:cNvSpPr>
            <p:nvPr/>
          </p:nvSpPr>
          <p:spPr bwMode="auto">
            <a:xfrm>
              <a:off x="6553200" y="2028825"/>
              <a:ext cx="503238" cy="12700"/>
            </a:xfrm>
            <a:custGeom>
              <a:avLst/>
              <a:gdLst>
                <a:gd name="T0" fmla="*/ 16 w 1408"/>
                <a:gd name="T1" fmla="*/ 0 h 32"/>
                <a:gd name="T2" fmla="*/ 240 w 1408"/>
                <a:gd name="T3" fmla="*/ 0 h 32"/>
                <a:gd name="T4" fmla="*/ 256 w 1408"/>
                <a:gd name="T5" fmla="*/ 16 h 32"/>
                <a:gd name="T6" fmla="*/ 240 w 1408"/>
                <a:gd name="T7" fmla="*/ 32 h 32"/>
                <a:gd name="T8" fmla="*/ 16 w 1408"/>
                <a:gd name="T9" fmla="*/ 32 h 32"/>
                <a:gd name="T10" fmla="*/ 0 w 1408"/>
                <a:gd name="T11" fmla="*/ 16 h 32"/>
                <a:gd name="T12" fmla="*/ 16 w 1408"/>
                <a:gd name="T13" fmla="*/ 0 h 32"/>
                <a:gd name="T14" fmla="*/ 400 w 1408"/>
                <a:gd name="T15" fmla="*/ 0 h 32"/>
                <a:gd name="T16" fmla="*/ 624 w 1408"/>
                <a:gd name="T17" fmla="*/ 0 h 32"/>
                <a:gd name="T18" fmla="*/ 640 w 1408"/>
                <a:gd name="T19" fmla="*/ 16 h 32"/>
                <a:gd name="T20" fmla="*/ 624 w 1408"/>
                <a:gd name="T21" fmla="*/ 32 h 32"/>
                <a:gd name="T22" fmla="*/ 400 w 1408"/>
                <a:gd name="T23" fmla="*/ 32 h 32"/>
                <a:gd name="T24" fmla="*/ 384 w 1408"/>
                <a:gd name="T25" fmla="*/ 16 h 32"/>
                <a:gd name="T26" fmla="*/ 400 w 1408"/>
                <a:gd name="T27" fmla="*/ 0 h 32"/>
                <a:gd name="T28" fmla="*/ 784 w 1408"/>
                <a:gd name="T29" fmla="*/ 0 h 32"/>
                <a:gd name="T30" fmla="*/ 1008 w 1408"/>
                <a:gd name="T31" fmla="*/ 0 h 32"/>
                <a:gd name="T32" fmla="*/ 1024 w 1408"/>
                <a:gd name="T33" fmla="*/ 16 h 32"/>
                <a:gd name="T34" fmla="*/ 1008 w 1408"/>
                <a:gd name="T35" fmla="*/ 32 h 32"/>
                <a:gd name="T36" fmla="*/ 784 w 1408"/>
                <a:gd name="T37" fmla="*/ 32 h 32"/>
                <a:gd name="T38" fmla="*/ 768 w 1408"/>
                <a:gd name="T39" fmla="*/ 16 h 32"/>
                <a:gd name="T40" fmla="*/ 784 w 1408"/>
                <a:gd name="T41" fmla="*/ 0 h 32"/>
                <a:gd name="T42" fmla="*/ 1168 w 1408"/>
                <a:gd name="T43" fmla="*/ 0 h 32"/>
                <a:gd name="T44" fmla="*/ 1392 w 1408"/>
                <a:gd name="T45" fmla="*/ 0 h 32"/>
                <a:gd name="T46" fmla="*/ 1408 w 1408"/>
                <a:gd name="T47" fmla="*/ 16 h 32"/>
                <a:gd name="T48" fmla="*/ 1392 w 1408"/>
                <a:gd name="T49" fmla="*/ 32 h 32"/>
                <a:gd name="T50" fmla="*/ 1168 w 1408"/>
                <a:gd name="T51" fmla="*/ 32 h 32"/>
                <a:gd name="T52" fmla="*/ 1152 w 1408"/>
                <a:gd name="T53" fmla="*/ 16 h 32"/>
                <a:gd name="T54" fmla="*/ 1168 w 1408"/>
                <a:gd name="T5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08" h="32">
                  <a:moveTo>
                    <a:pt x="16" y="0"/>
                  </a:moveTo>
                  <a:lnTo>
                    <a:pt x="240" y="0"/>
                  </a:lnTo>
                  <a:cubicBezTo>
                    <a:pt x="249" y="0"/>
                    <a:pt x="256" y="7"/>
                    <a:pt x="256" y="16"/>
                  </a:cubicBezTo>
                  <a:cubicBezTo>
                    <a:pt x="256" y="25"/>
                    <a:pt x="249" y="32"/>
                    <a:pt x="240" y="32"/>
                  </a:cubicBezTo>
                  <a:lnTo>
                    <a:pt x="16" y="32"/>
                  </a:lnTo>
                  <a:cubicBezTo>
                    <a:pt x="7" y="32"/>
                    <a:pt x="0" y="25"/>
                    <a:pt x="0" y="16"/>
                  </a:cubicBezTo>
                  <a:cubicBezTo>
                    <a:pt x="0" y="7"/>
                    <a:pt x="7" y="0"/>
                    <a:pt x="16" y="0"/>
                  </a:cubicBezTo>
                  <a:close/>
                  <a:moveTo>
                    <a:pt x="400" y="0"/>
                  </a:moveTo>
                  <a:lnTo>
                    <a:pt x="624" y="0"/>
                  </a:lnTo>
                  <a:cubicBezTo>
                    <a:pt x="633" y="0"/>
                    <a:pt x="640" y="7"/>
                    <a:pt x="640" y="16"/>
                  </a:cubicBezTo>
                  <a:cubicBezTo>
                    <a:pt x="640" y="25"/>
                    <a:pt x="633" y="32"/>
                    <a:pt x="624" y="32"/>
                  </a:cubicBezTo>
                  <a:lnTo>
                    <a:pt x="400" y="32"/>
                  </a:lnTo>
                  <a:cubicBezTo>
                    <a:pt x="391" y="32"/>
                    <a:pt x="384" y="25"/>
                    <a:pt x="384" y="16"/>
                  </a:cubicBezTo>
                  <a:cubicBezTo>
                    <a:pt x="384" y="7"/>
                    <a:pt x="391" y="0"/>
                    <a:pt x="400" y="0"/>
                  </a:cubicBezTo>
                  <a:close/>
                  <a:moveTo>
                    <a:pt x="784" y="0"/>
                  </a:moveTo>
                  <a:lnTo>
                    <a:pt x="1008" y="0"/>
                  </a:lnTo>
                  <a:cubicBezTo>
                    <a:pt x="1017" y="0"/>
                    <a:pt x="1024" y="7"/>
                    <a:pt x="1024" y="16"/>
                  </a:cubicBezTo>
                  <a:cubicBezTo>
                    <a:pt x="1024" y="25"/>
                    <a:pt x="1017" y="32"/>
                    <a:pt x="1008" y="32"/>
                  </a:cubicBezTo>
                  <a:lnTo>
                    <a:pt x="784" y="32"/>
                  </a:lnTo>
                  <a:cubicBezTo>
                    <a:pt x="775" y="32"/>
                    <a:pt x="768" y="25"/>
                    <a:pt x="768" y="16"/>
                  </a:cubicBezTo>
                  <a:cubicBezTo>
                    <a:pt x="768" y="7"/>
                    <a:pt x="775" y="0"/>
                    <a:pt x="784" y="0"/>
                  </a:cubicBezTo>
                  <a:close/>
                  <a:moveTo>
                    <a:pt x="1168" y="0"/>
                  </a:moveTo>
                  <a:lnTo>
                    <a:pt x="1392" y="0"/>
                  </a:lnTo>
                  <a:cubicBezTo>
                    <a:pt x="1401" y="0"/>
                    <a:pt x="1408" y="7"/>
                    <a:pt x="1408" y="16"/>
                  </a:cubicBezTo>
                  <a:cubicBezTo>
                    <a:pt x="1408" y="25"/>
                    <a:pt x="1401" y="32"/>
                    <a:pt x="1392" y="32"/>
                  </a:cubicBezTo>
                  <a:lnTo>
                    <a:pt x="1168" y="32"/>
                  </a:lnTo>
                  <a:cubicBezTo>
                    <a:pt x="1159" y="32"/>
                    <a:pt x="1152" y="25"/>
                    <a:pt x="1152" y="16"/>
                  </a:cubicBezTo>
                  <a:cubicBezTo>
                    <a:pt x="1152" y="7"/>
                    <a:pt x="1159" y="0"/>
                    <a:pt x="1168"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65">
              <a:extLst>
                <a:ext uri="{FF2B5EF4-FFF2-40B4-BE49-F238E27FC236}">
                  <a16:creationId xmlns:a16="http://schemas.microsoft.com/office/drawing/2014/main" id="{C883BD25-53D7-463C-ACA4-5E2FA84F412B}"/>
                </a:ext>
              </a:extLst>
            </p:cNvPr>
            <p:cNvSpPr>
              <a:spLocks/>
            </p:cNvSpPr>
            <p:nvPr/>
          </p:nvSpPr>
          <p:spPr bwMode="auto">
            <a:xfrm>
              <a:off x="7034213" y="1985963"/>
              <a:ext cx="98425" cy="98425"/>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1"/>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Rectangle 74">
              <a:extLst>
                <a:ext uri="{FF2B5EF4-FFF2-40B4-BE49-F238E27FC236}">
                  <a16:creationId xmlns:a16="http://schemas.microsoft.com/office/drawing/2014/main" id="{BBADD492-932E-44AB-BF07-67FC0881130F}"/>
                </a:ext>
              </a:extLst>
            </p:cNvPr>
            <p:cNvSpPr>
              <a:spLocks noChangeArrowheads="1"/>
            </p:cNvSpPr>
            <p:nvPr/>
          </p:nvSpPr>
          <p:spPr bwMode="auto">
            <a:xfrm>
              <a:off x="3675063" y="2338388"/>
              <a:ext cx="2928938"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Segoe UI" panose="020B0502040204020203" pitchFamily="34" charset="0"/>
                </a:rPr>
                <a:t>The phases can be mixed or managed independentl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2" name="Rectangle 75">
              <a:extLst>
                <a:ext uri="{FF2B5EF4-FFF2-40B4-BE49-F238E27FC236}">
                  <a16:creationId xmlns:a16="http://schemas.microsoft.com/office/drawing/2014/main" id="{8EC26D02-5439-4A8F-AD8D-3F583969DB3B}"/>
                </a:ext>
              </a:extLst>
            </p:cNvPr>
            <p:cNvSpPr>
              <a:spLocks noChangeArrowheads="1"/>
            </p:cNvSpPr>
            <p:nvPr/>
          </p:nvSpPr>
          <p:spPr bwMode="auto">
            <a:xfrm>
              <a:off x="3675063" y="2484438"/>
              <a:ext cx="55086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Segoe UI" panose="020B0502040204020203" pitchFamily="34" charset="0"/>
                </a:rPr>
                <a:t>Examples : you may retain files at least for 3 years, then let the users delete then whenever they wan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3" name="Rectangle 76">
              <a:extLst>
                <a:ext uri="{FF2B5EF4-FFF2-40B4-BE49-F238E27FC236}">
                  <a16:creationId xmlns:a16="http://schemas.microsoft.com/office/drawing/2014/main" id="{3E75F77E-5EBA-4A44-A6E5-3B878F718178}"/>
                </a:ext>
              </a:extLst>
            </p:cNvPr>
            <p:cNvSpPr>
              <a:spLocks noChangeArrowheads="1"/>
            </p:cNvSpPr>
            <p:nvPr/>
          </p:nvSpPr>
          <p:spPr bwMode="auto">
            <a:xfrm>
              <a:off x="3675063" y="2633663"/>
              <a:ext cx="6264275"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a:ln>
                    <a:noFill/>
                  </a:ln>
                  <a:solidFill>
                    <a:srgbClr val="000000"/>
                  </a:solidFill>
                  <a:effectLst/>
                  <a:latin typeface="Segoe UI" panose="020B0502040204020203" pitchFamily="34" charset="0"/>
                </a:rPr>
                <a:t>You may let users decide to keep or delete files during 3 years, but issue an automatic purge when this period end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6" name="Rectangle 79">
              <a:extLst>
                <a:ext uri="{FF2B5EF4-FFF2-40B4-BE49-F238E27FC236}">
                  <a16:creationId xmlns:a16="http://schemas.microsoft.com/office/drawing/2014/main" id="{1D1B982D-D373-4A50-AAC2-8C196B159867}"/>
                </a:ext>
              </a:extLst>
            </p:cNvPr>
            <p:cNvSpPr>
              <a:spLocks noChangeArrowheads="1"/>
            </p:cNvSpPr>
            <p:nvPr/>
          </p:nvSpPr>
          <p:spPr bwMode="auto">
            <a:xfrm>
              <a:off x="6369050" y="1587500"/>
              <a:ext cx="314325"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a:ln>
                    <a:noFill/>
                  </a:ln>
                  <a:solidFill>
                    <a:srgbClr val="205867"/>
                  </a:solidFill>
                  <a:effectLst/>
                  <a:latin typeface="Segoe UI" panose="020B0502040204020203" pitchFamily="34" charset="0"/>
                </a:rPr>
                <a:t>E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pic>
        <p:nvPicPr>
          <p:cNvPr id="144" name="Picture 143">
            <a:extLst>
              <a:ext uri="{FF2B5EF4-FFF2-40B4-BE49-F238E27FC236}">
                <a16:creationId xmlns:a16="http://schemas.microsoft.com/office/drawing/2014/main" id="{609109CA-A4FD-4147-BE9C-8A85D791F4F2}"/>
              </a:ext>
            </a:extLst>
          </p:cNvPr>
          <p:cNvPicPr>
            <a:picLocks noChangeAspect="1"/>
          </p:cNvPicPr>
          <p:nvPr/>
        </p:nvPicPr>
        <p:blipFill>
          <a:blip r:embed="rId3"/>
          <a:stretch>
            <a:fillRect/>
          </a:stretch>
        </p:blipFill>
        <p:spPr>
          <a:xfrm>
            <a:off x="8842058" y="4141152"/>
            <a:ext cx="2194560" cy="1983106"/>
          </a:xfrm>
          <a:prstGeom prst="rect">
            <a:avLst/>
          </a:prstGeom>
        </p:spPr>
      </p:pic>
      <p:pic>
        <p:nvPicPr>
          <p:cNvPr id="3" name="Picture 2">
            <a:extLst>
              <a:ext uri="{FF2B5EF4-FFF2-40B4-BE49-F238E27FC236}">
                <a16:creationId xmlns:a16="http://schemas.microsoft.com/office/drawing/2014/main" id="{11ECF5C9-F41B-977B-4259-AEB5F2353B79}"/>
              </a:ext>
            </a:extLst>
          </p:cNvPr>
          <p:cNvPicPr>
            <a:picLocks noChangeAspect="1"/>
          </p:cNvPicPr>
          <p:nvPr/>
        </p:nvPicPr>
        <p:blipFill>
          <a:blip r:embed="rId4"/>
          <a:stretch>
            <a:fillRect/>
          </a:stretch>
        </p:blipFill>
        <p:spPr>
          <a:xfrm>
            <a:off x="3881913" y="3325740"/>
            <a:ext cx="3869056" cy="2731770"/>
          </a:xfrm>
          <a:prstGeom prst="rect">
            <a:avLst/>
          </a:prstGeom>
        </p:spPr>
      </p:pic>
    </p:spTree>
    <p:extLst>
      <p:ext uri="{BB962C8B-B14F-4D97-AF65-F5344CB8AC3E}">
        <p14:creationId xmlns:p14="http://schemas.microsoft.com/office/powerpoint/2010/main" val="3166985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41"/>
                                        </p:tgtEl>
                                        <p:attrNameLst>
                                          <p:attrName>style.visibility</p:attrName>
                                        </p:attrNameLst>
                                      </p:cBhvr>
                                      <p:to>
                                        <p:strVal val="visible"/>
                                      </p:to>
                                    </p:set>
                                    <p:animEffect transition="in" filter="wipe(left)">
                                      <p:cBhvr>
                                        <p:cTn id="7" dur="1000"/>
                                        <p:tgtEl>
                                          <p:spTgt spid="14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4"/>
                                        </p:tgtEl>
                                        <p:attrNameLst>
                                          <p:attrName>style.visibility</p:attrName>
                                        </p:attrNameLst>
                                      </p:cBhvr>
                                      <p:to>
                                        <p:strVal val="visible"/>
                                      </p:to>
                                    </p:set>
                                    <p:animEffect transition="in" filter="fade">
                                      <p:cBhvr>
                                        <p:cTn id="17" dur="500"/>
                                        <p:tgtEl>
                                          <p:spTgt spid="1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Information Governance </a:t>
            </a:r>
            <a:r>
              <a:rPr kumimoji="0" lang="en-US" sz="2000" b="0" i="0" u="none" strike="noStrike" kern="1200" cap="none" spc="0" normalizeH="0" baseline="0" noProof="0" dirty="0">
                <a:ln>
                  <a:noFill/>
                </a:ln>
                <a:solidFill>
                  <a:srgbClr val="FFFFFF"/>
                </a:solidFill>
                <a:effectLst/>
                <a:uLnTx/>
                <a:uFillTx/>
                <a:latin typeface="Segoe UI"/>
                <a:ea typeface="+mn-ea"/>
                <a:cs typeface="+mn-cs"/>
              </a:rPr>
              <a:t>– Context</a:t>
            </a:r>
          </a:p>
        </p:txBody>
      </p:sp>
      <p:grpSp>
        <p:nvGrpSpPr>
          <p:cNvPr id="27" name="Group 26">
            <a:extLst>
              <a:ext uri="{FF2B5EF4-FFF2-40B4-BE49-F238E27FC236}">
                <a16:creationId xmlns:a16="http://schemas.microsoft.com/office/drawing/2014/main" id="{E4B3E25B-8102-42F0-86B9-D0A327C5FFC7}"/>
              </a:ext>
            </a:extLst>
          </p:cNvPr>
          <p:cNvGrpSpPr/>
          <p:nvPr/>
        </p:nvGrpSpPr>
        <p:grpSpPr>
          <a:xfrm>
            <a:off x="8586788" y="3879851"/>
            <a:ext cx="2135188" cy="1311275"/>
            <a:chOff x="8586788" y="3879851"/>
            <a:chExt cx="2135188" cy="1311275"/>
          </a:xfrm>
        </p:grpSpPr>
        <p:sp>
          <p:nvSpPr>
            <p:cNvPr id="28" name="Rectangle 5">
              <a:extLst>
                <a:ext uri="{FF2B5EF4-FFF2-40B4-BE49-F238E27FC236}">
                  <a16:creationId xmlns:a16="http://schemas.microsoft.com/office/drawing/2014/main" id="{ED616F72-857D-4A41-ABFA-48E1A27FB145}"/>
                </a:ext>
              </a:extLst>
            </p:cNvPr>
            <p:cNvSpPr>
              <a:spLocks noChangeArrowheads="1"/>
            </p:cNvSpPr>
            <p:nvPr/>
          </p:nvSpPr>
          <p:spPr bwMode="auto">
            <a:xfrm>
              <a:off x="8586788" y="3879851"/>
              <a:ext cx="2135188" cy="1311275"/>
            </a:xfrm>
            <a:prstGeom prst="rect">
              <a:avLst/>
            </a:prstGeom>
            <a:solidFill>
              <a:srgbClr val="FFF2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6">
              <a:extLst>
                <a:ext uri="{FF2B5EF4-FFF2-40B4-BE49-F238E27FC236}">
                  <a16:creationId xmlns:a16="http://schemas.microsoft.com/office/drawing/2014/main" id="{FDC4382D-94EF-4F08-97F9-BBE6C32B4748}"/>
                </a:ext>
              </a:extLst>
            </p:cNvPr>
            <p:cNvSpPr>
              <a:spLocks noChangeArrowheads="1"/>
            </p:cNvSpPr>
            <p:nvPr/>
          </p:nvSpPr>
          <p:spPr bwMode="auto">
            <a:xfrm>
              <a:off x="8586788" y="3879851"/>
              <a:ext cx="2135188" cy="1311275"/>
            </a:xfrm>
            <a:prstGeom prst="rect">
              <a:avLst/>
            </a:pr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Freeform 34">
              <a:extLst>
                <a:ext uri="{FF2B5EF4-FFF2-40B4-BE49-F238E27FC236}">
                  <a16:creationId xmlns:a16="http://schemas.microsoft.com/office/drawing/2014/main" id="{A2B24AD4-6D3A-479C-92D1-0A9959EDD9CC}"/>
                </a:ext>
              </a:extLst>
            </p:cNvPr>
            <p:cNvSpPr>
              <a:spLocks noEditPoints="1"/>
            </p:cNvSpPr>
            <p:nvPr/>
          </p:nvSpPr>
          <p:spPr bwMode="auto">
            <a:xfrm>
              <a:off x="9842500" y="4679951"/>
              <a:ext cx="385763" cy="388938"/>
            </a:xfrm>
            <a:custGeom>
              <a:avLst/>
              <a:gdLst>
                <a:gd name="T0" fmla="*/ 841 w 864"/>
                <a:gd name="T1" fmla="*/ 93 h 866"/>
                <a:gd name="T2" fmla="*/ 507 w 864"/>
                <a:gd name="T3" fmla="*/ 93 h 866"/>
                <a:gd name="T4" fmla="*/ 507 w 864"/>
                <a:gd name="T5" fmla="*/ 0 h 866"/>
                <a:gd name="T6" fmla="*/ 0 w 864"/>
                <a:gd name="T7" fmla="*/ 89 h 866"/>
                <a:gd name="T8" fmla="*/ 0 w 864"/>
                <a:gd name="T9" fmla="*/ 778 h 866"/>
                <a:gd name="T10" fmla="*/ 507 w 864"/>
                <a:gd name="T11" fmla="*/ 866 h 866"/>
                <a:gd name="T12" fmla="*/ 507 w 864"/>
                <a:gd name="T13" fmla="*/ 785 h 866"/>
                <a:gd name="T14" fmla="*/ 841 w 864"/>
                <a:gd name="T15" fmla="*/ 785 h 866"/>
                <a:gd name="T16" fmla="*/ 864 w 864"/>
                <a:gd name="T17" fmla="*/ 762 h 866"/>
                <a:gd name="T18" fmla="*/ 864 w 864"/>
                <a:gd name="T19" fmla="*/ 116 h 866"/>
                <a:gd name="T20" fmla="*/ 841 w 864"/>
                <a:gd name="T21" fmla="*/ 93 h 866"/>
                <a:gd name="T22" fmla="*/ 321 w 864"/>
                <a:gd name="T23" fmla="*/ 578 h 866"/>
                <a:gd name="T24" fmla="*/ 264 w 864"/>
                <a:gd name="T25" fmla="*/ 573 h 866"/>
                <a:gd name="T26" fmla="*/ 223 w 864"/>
                <a:gd name="T27" fmla="*/ 366 h 866"/>
                <a:gd name="T28" fmla="*/ 182 w 864"/>
                <a:gd name="T29" fmla="*/ 569 h 866"/>
                <a:gd name="T30" fmla="*/ 130 w 864"/>
                <a:gd name="T31" fmla="*/ 564 h 866"/>
                <a:gd name="T32" fmla="*/ 80 w 864"/>
                <a:gd name="T33" fmla="*/ 307 h 866"/>
                <a:gd name="T34" fmla="*/ 127 w 864"/>
                <a:gd name="T35" fmla="*/ 303 h 866"/>
                <a:gd name="T36" fmla="*/ 159 w 864"/>
                <a:gd name="T37" fmla="*/ 505 h 866"/>
                <a:gd name="T38" fmla="*/ 202 w 864"/>
                <a:gd name="T39" fmla="*/ 296 h 866"/>
                <a:gd name="T40" fmla="*/ 255 w 864"/>
                <a:gd name="T41" fmla="*/ 291 h 866"/>
                <a:gd name="T42" fmla="*/ 296 w 864"/>
                <a:gd name="T43" fmla="*/ 507 h 866"/>
                <a:gd name="T44" fmla="*/ 334 w 864"/>
                <a:gd name="T45" fmla="*/ 287 h 866"/>
                <a:gd name="T46" fmla="*/ 389 w 864"/>
                <a:gd name="T47" fmla="*/ 282 h 866"/>
                <a:gd name="T48" fmla="*/ 321 w 864"/>
                <a:gd name="T49" fmla="*/ 578 h 866"/>
                <a:gd name="T50" fmla="*/ 834 w 864"/>
                <a:gd name="T51" fmla="*/ 757 h 866"/>
                <a:gd name="T52" fmla="*/ 505 w 864"/>
                <a:gd name="T53" fmla="*/ 757 h 866"/>
                <a:gd name="T54" fmla="*/ 505 w 864"/>
                <a:gd name="T55" fmla="*/ 689 h 866"/>
                <a:gd name="T56" fmla="*/ 759 w 864"/>
                <a:gd name="T57" fmla="*/ 689 h 866"/>
                <a:gd name="T58" fmla="*/ 759 w 864"/>
                <a:gd name="T59" fmla="*/ 646 h 866"/>
                <a:gd name="T60" fmla="*/ 505 w 864"/>
                <a:gd name="T61" fmla="*/ 646 h 866"/>
                <a:gd name="T62" fmla="*/ 505 w 864"/>
                <a:gd name="T63" fmla="*/ 594 h 866"/>
                <a:gd name="T64" fmla="*/ 759 w 864"/>
                <a:gd name="T65" fmla="*/ 594 h 866"/>
                <a:gd name="T66" fmla="*/ 759 w 864"/>
                <a:gd name="T67" fmla="*/ 555 h 866"/>
                <a:gd name="T68" fmla="*/ 505 w 864"/>
                <a:gd name="T69" fmla="*/ 555 h 866"/>
                <a:gd name="T70" fmla="*/ 505 w 864"/>
                <a:gd name="T71" fmla="*/ 503 h 866"/>
                <a:gd name="T72" fmla="*/ 759 w 864"/>
                <a:gd name="T73" fmla="*/ 503 h 866"/>
                <a:gd name="T74" fmla="*/ 759 w 864"/>
                <a:gd name="T75" fmla="*/ 464 h 866"/>
                <a:gd name="T76" fmla="*/ 505 w 864"/>
                <a:gd name="T77" fmla="*/ 464 h 866"/>
                <a:gd name="T78" fmla="*/ 505 w 864"/>
                <a:gd name="T79" fmla="*/ 412 h 866"/>
                <a:gd name="T80" fmla="*/ 759 w 864"/>
                <a:gd name="T81" fmla="*/ 412 h 866"/>
                <a:gd name="T82" fmla="*/ 759 w 864"/>
                <a:gd name="T83" fmla="*/ 373 h 866"/>
                <a:gd name="T84" fmla="*/ 505 w 864"/>
                <a:gd name="T85" fmla="*/ 373 h 866"/>
                <a:gd name="T86" fmla="*/ 505 w 864"/>
                <a:gd name="T87" fmla="*/ 321 h 866"/>
                <a:gd name="T88" fmla="*/ 759 w 864"/>
                <a:gd name="T89" fmla="*/ 321 h 866"/>
                <a:gd name="T90" fmla="*/ 759 w 864"/>
                <a:gd name="T91" fmla="*/ 282 h 866"/>
                <a:gd name="T92" fmla="*/ 505 w 864"/>
                <a:gd name="T93" fmla="*/ 282 h 866"/>
                <a:gd name="T94" fmla="*/ 505 w 864"/>
                <a:gd name="T95" fmla="*/ 230 h 866"/>
                <a:gd name="T96" fmla="*/ 759 w 864"/>
                <a:gd name="T97" fmla="*/ 230 h 866"/>
                <a:gd name="T98" fmla="*/ 759 w 864"/>
                <a:gd name="T99" fmla="*/ 191 h 866"/>
                <a:gd name="T100" fmla="*/ 505 w 864"/>
                <a:gd name="T101" fmla="*/ 191 h 866"/>
                <a:gd name="T102" fmla="*/ 505 w 864"/>
                <a:gd name="T103" fmla="*/ 128 h 866"/>
                <a:gd name="T104" fmla="*/ 834 w 864"/>
                <a:gd name="T105" fmla="*/ 128 h 866"/>
                <a:gd name="T106" fmla="*/ 834 w 864"/>
                <a:gd name="T107" fmla="*/ 757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4" h="866">
                  <a:moveTo>
                    <a:pt x="841" y="93"/>
                  </a:moveTo>
                  <a:lnTo>
                    <a:pt x="507" y="93"/>
                  </a:lnTo>
                  <a:lnTo>
                    <a:pt x="507" y="0"/>
                  </a:lnTo>
                  <a:lnTo>
                    <a:pt x="0" y="89"/>
                  </a:lnTo>
                  <a:lnTo>
                    <a:pt x="0" y="778"/>
                  </a:lnTo>
                  <a:lnTo>
                    <a:pt x="507" y="866"/>
                  </a:lnTo>
                  <a:lnTo>
                    <a:pt x="507" y="785"/>
                  </a:lnTo>
                  <a:lnTo>
                    <a:pt x="841" y="785"/>
                  </a:lnTo>
                  <a:cubicBezTo>
                    <a:pt x="855" y="785"/>
                    <a:pt x="864" y="773"/>
                    <a:pt x="864" y="762"/>
                  </a:cubicBezTo>
                  <a:lnTo>
                    <a:pt x="864" y="116"/>
                  </a:lnTo>
                  <a:cubicBezTo>
                    <a:pt x="864" y="103"/>
                    <a:pt x="853" y="93"/>
                    <a:pt x="841" y="93"/>
                  </a:cubicBezTo>
                  <a:close/>
                  <a:moveTo>
                    <a:pt x="321" y="578"/>
                  </a:moveTo>
                  <a:lnTo>
                    <a:pt x="264" y="573"/>
                  </a:lnTo>
                  <a:lnTo>
                    <a:pt x="223" y="366"/>
                  </a:lnTo>
                  <a:cubicBezTo>
                    <a:pt x="220" y="371"/>
                    <a:pt x="182" y="569"/>
                    <a:pt x="182" y="569"/>
                  </a:cubicBezTo>
                  <a:lnTo>
                    <a:pt x="130" y="564"/>
                  </a:lnTo>
                  <a:lnTo>
                    <a:pt x="80" y="307"/>
                  </a:lnTo>
                  <a:lnTo>
                    <a:pt x="127" y="303"/>
                  </a:lnTo>
                  <a:cubicBezTo>
                    <a:pt x="127" y="303"/>
                    <a:pt x="159" y="503"/>
                    <a:pt x="159" y="505"/>
                  </a:cubicBezTo>
                  <a:lnTo>
                    <a:pt x="202" y="296"/>
                  </a:lnTo>
                  <a:lnTo>
                    <a:pt x="255" y="291"/>
                  </a:lnTo>
                  <a:cubicBezTo>
                    <a:pt x="255" y="291"/>
                    <a:pt x="296" y="503"/>
                    <a:pt x="296" y="507"/>
                  </a:cubicBezTo>
                  <a:lnTo>
                    <a:pt x="334" y="287"/>
                  </a:lnTo>
                  <a:lnTo>
                    <a:pt x="389" y="282"/>
                  </a:lnTo>
                  <a:lnTo>
                    <a:pt x="321" y="578"/>
                  </a:lnTo>
                  <a:close/>
                  <a:moveTo>
                    <a:pt x="834" y="757"/>
                  </a:moveTo>
                  <a:lnTo>
                    <a:pt x="505" y="757"/>
                  </a:lnTo>
                  <a:lnTo>
                    <a:pt x="505" y="689"/>
                  </a:lnTo>
                  <a:lnTo>
                    <a:pt x="759" y="689"/>
                  </a:lnTo>
                  <a:lnTo>
                    <a:pt x="759" y="646"/>
                  </a:lnTo>
                  <a:lnTo>
                    <a:pt x="505" y="646"/>
                  </a:lnTo>
                  <a:lnTo>
                    <a:pt x="505" y="594"/>
                  </a:lnTo>
                  <a:lnTo>
                    <a:pt x="759" y="594"/>
                  </a:lnTo>
                  <a:lnTo>
                    <a:pt x="759" y="555"/>
                  </a:lnTo>
                  <a:lnTo>
                    <a:pt x="505" y="555"/>
                  </a:lnTo>
                  <a:lnTo>
                    <a:pt x="505" y="503"/>
                  </a:lnTo>
                  <a:lnTo>
                    <a:pt x="759" y="503"/>
                  </a:lnTo>
                  <a:lnTo>
                    <a:pt x="759" y="464"/>
                  </a:lnTo>
                  <a:lnTo>
                    <a:pt x="505" y="464"/>
                  </a:lnTo>
                  <a:lnTo>
                    <a:pt x="505" y="412"/>
                  </a:lnTo>
                  <a:lnTo>
                    <a:pt x="759" y="412"/>
                  </a:lnTo>
                  <a:lnTo>
                    <a:pt x="759" y="373"/>
                  </a:lnTo>
                  <a:lnTo>
                    <a:pt x="505" y="373"/>
                  </a:lnTo>
                  <a:lnTo>
                    <a:pt x="505" y="321"/>
                  </a:lnTo>
                  <a:lnTo>
                    <a:pt x="759" y="321"/>
                  </a:lnTo>
                  <a:lnTo>
                    <a:pt x="759" y="282"/>
                  </a:lnTo>
                  <a:lnTo>
                    <a:pt x="505" y="282"/>
                  </a:lnTo>
                  <a:lnTo>
                    <a:pt x="505" y="230"/>
                  </a:lnTo>
                  <a:lnTo>
                    <a:pt x="759" y="230"/>
                  </a:lnTo>
                  <a:lnTo>
                    <a:pt x="759" y="191"/>
                  </a:lnTo>
                  <a:lnTo>
                    <a:pt x="505" y="191"/>
                  </a:lnTo>
                  <a:lnTo>
                    <a:pt x="505" y="128"/>
                  </a:lnTo>
                  <a:lnTo>
                    <a:pt x="834" y="128"/>
                  </a:lnTo>
                  <a:lnTo>
                    <a:pt x="834" y="757"/>
                  </a:lnTo>
                  <a:close/>
                </a:path>
              </a:pathLst>
            </a:custGeom>
            <a:solidFill>
              <a:srgbClr val="2C35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Rectangle 35">
              <a:extLst>
                <a:ext uri="{FF2B5EF4-FFF2-40B4-BE49-F238E27FC236}">
                  <a16:creationId xmlns:a16="http://schemas.microsoft.com/office/drawing/2014/main" id="{A8EFFAFB-C41F-49CC-B5AA-601F70419C10}"/>
                </a:ext>
              </a:extLst>
            </p:cNvPr>
            <p:cNvSpPr>
              <a:spLocks noChangeArrowheads="1"/>
            </p:cNvSpPr>
            <p:nvPr/>
          </p:nvSpPr>
          <p:spPr bwMode="auto">
            <a:xfrm>
              <a:off x="9347200" y="4189413"/>
              <a:ext cx="708025"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Calibri" panose="020F0502020204030204" pitchFamily="34" charset="0"/>
                </a:rPr>
                <a:t>M36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 name="Rectangle 46">
              <a:extLst>
                <a:ext uri="{FF2B5EF4-FFF2-40B4-BE49-F238E27FC236}">
                  <a16:creationId xmlns:a16="http://schemas.microsoft.com/office/drawing/2014/main" id="{1605D5C8-813D-42BD-AE1C-DB2E16CB0A56}"/>
                </a:ext>
              </a:extLst>
            </p:cNvPr>
            <p:cNvSpPr>
              <a:spLocks noChangeArrowheads="1"/>
            </p:cNvSpPr>
            <p:nvPr/>
          </p:nvSpPr>
          <p:spPr bwMode="auto">
            <a:xfrm>
              <a:off x="10293350" y="4745038"/>
              <a:ext cx="322263" cy="260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7">
              <a:extLst>
                <a:ext uri="{FF2B5EF4-FFF2-40B4-BE49-F238E27FC236}">
                  <a16:creationId xmlns:a16="http://schemas.microsoft.com/office/drawing/2014/main" id="{B136ABEA-65C5-48F5-8AB1-C719C6F590D6}"/>
                </a:ext>
              </a:extLst>
            </p:cNvPr>
            <p:cNvSpPr>
              <a:spLocks noChangeArrowheads="1"/>
            </p:cNvSpPr>
            <p:nvPr/>
          </p:nvSpPr>
          <p:spPr bwMode="auto">
            <a:xfrm>
              <a:off x="10293350" y="4745038"/>
              <a:ext cx="322263" cy="260350"/>
            </a:xfrm>
            <a:prstGeom prst="rect">
              <a:avLst/>
            </a:prstGeom>
            <a:noFill/>
            <a:ln w="28575" cap="flat">
              <a:solidFill>
                <a:srgbClr val="232F3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Freeform 48">
              <a:extLst>
                <a:ext uri="{FF2B5EF4-FFF2-40B4-BE49-F238E27FC236}">
                  <a16:creationId xmlns:a16="http://schemas.microsoft.com/office/drawing/2014/main" id="{2E85659A-F0C7-4020-B55E-D28CEC29C625}"/>
                </a:ext>
              </a:extLst>
            </p:cNvPr>
            <p:cNvSpPr>
              <a:spLocks/>
            </p:cNvSpPr>
            <p:nvPr/>
          </p:nvSpPr>
          <p:spPr bwMode="auto">
            <a:xfrm>
              <a:off x="10293350" y="4745038"/>
              <a:ext cx="322263" cy="176213"/>
            </a:xfrm>
            <a:custGeom>
              <a:avLst/>
              <a:gdLst>
                <a:gd name="T0" fmla="*/ 0 w 203"/>
                <a:gd name="T1" fmla="*/ 0 h 111"/>
                <a:gd name="T2" fmla="*/ 203 w 203"/>
                <a:gd name="T3" fmla="*/ 0 h 111"/>
                <a:gd name="T4" fmla="*/ 101 w 203"/>
                <a:gd name="T5" fmla="*/ 111 h 111"/>
                <a:gd name="T6" fmla="*/ 0 w 203"/>
                <a:gd name="T7" fmla="*/ 0 h 111"/>
              </a:gdLst>
              <a:ahLst/>
              <a:cxnLst>
                <a:cxn ang="0">
                  <a:pos x="T0" y="T1"/>
                </a:cxn>
                <a:cxn ang="0">
                  <a:pos x="T2" y="T3"/>
                </a:cxn>
                <a:cxn ang="0">
                  <a:pos x="T4" y="T5"/>
                </a:cxn>
                <a:cxn ang="0">
                  <a:pos x="T6" y="T7"/>
                </a:cxn>
              </a:cxnLst>
              <a:rect l="0" t="0" r="r" b="b"/>
              <a:pathLst>
                <a:path w="203" h="111">
                  <a:moveTo>
                    <a:pt x="0" y="0"/>
                  </a:moveTo>
                  <a:lnTo>
                    <a:pt x="203" y="0"/>
                  </a:lnTo>
                  <a:lnTo>
                    <a:pt x="101" y="111"/>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49">
              <a:extLst>
                <a:ext uri="{FF2B5EF4-FFF2-40B4-BE49-F238E27FC236}">
                  <a16:creationId xmlns:a16="http://schemas.microsoft.com/office/drawing/2014/main" id="{D5CB323E-D791-4B42-AB2A-DF5D7E613272}"/>
                </a:ext>
              </a:extLst>
            </p:cNvPr>
            <p:cNvSpPr>
              <a:spLocks/>
            </p:cNvSpPr>
            <p:nvPr/>
          </p:nvSpPr>
          <p:spPr bwMode="auto">
            <a:xfrm>
              <a:off x="10293350" y="4745038"/>
              <a:ext cx="322263" cy="176213"/>
            </a:xfrm>
            <a:custGeom>
              <a:avLst/>
              <a:gdLst>
                <a:gd name="T0" fmla="*/ 0 w 203"/>
                <a:gd name="T1" fmla="*/ 0 h 111"/>
                <a:gd name="T2" fmla="*/ 203 w 203"/>
                <a:gd name="T3" fmla="*/ 0 h 111"/>
                <a:gd name="T4" fmla="*/ 101 w 203"/>
                <a:gd name="T5" fmla="*/ 111 h 111"/>
                <a:gd name="T6" fmla="*/ 0 w 203"/>
                <a:gd name="T7" fmla="*/ 0 h 111"/>
              </a:gdLst>
              <a:ahLst/>
              <a:cxnLst>
                <a:cxn ang="0">
                  <a:pos x="T0" y="T1"/>
                </a:cxn>
                <a:cxn ang="0">
                  <a:pos x="T2" y="T3"/>
                </a:cxn>
                <a:cxn ang="0">
                  <a:pos x="T4" y="T5"/>
                </a:cxn>
                <a:cxn ang="0">
                  <a:pos x="T6" y="T7"/>
                </a:cxn>
              </a:cxnLst>
              <a:rect l="0" t="0" r="r" b="b"/>
              <a:pathLst>
                <a:path w="203" h="111">
                  <a:moveTo>
                    <a:pt x="0" y="0"/>
                  </a:moveTo>
                  <a:lnTo>
                    <a:pt x="203" y="0"/>
                  </a:lnTo>
                  <a:lnTo>
                    <a:pt x="101" y="111"/>
                  </a:lnTo>
                  <a:lnTo>
                    <a:pt x="0" y="0"/>
                  </a:lnTo>
                  <a:close/>
                </a:path>
              </a:pathLst>
            </a:custGeom>
            <a:noFill/>
            <a:ln w="28575" cap="flat">
              <a:solidFill>
                <a:srgbClr val="232F3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Freeform 50">
              <a:extLst>
                <a:ext uri="{FF2B5EF4-FFF2-40B4-BE49-F238E27FC236}">
                  <a16:creationId xmlns:a16="http://schemas.microsoft.com/office/drawing/2014/main" id="{427F5472-C17A-40B2-8BEF-5EE4087CCC9A}"/>
                </a:ext>
              </a:extLst>
            </p:cNvPr>
            <p:cNvSpPr>
              <a:spLocks/>
            </p:cNvSpPr>
            <p:nvPr/>
          </p:nvSpPr>
          <p:spPr bwMode="auto">
            <a:xfrm>
              <a:off x="10496550" y="4875213"/>
              <a:ext cx="119063" cy="130175"/>
            </a:xfrm>
            <a:custGeom>
              <a:avLst/>
              <a:gdLst>
                <a:gd name="T0" fmla="*/ 75 w 75"/>
                <a:gd name="T1" fmla="*/ 82 h 82"/>
                <a:gd name="T2" fmla="*/ 0 w 75"/>
                <a:gd name="T3" fmla="*/ 0 h 82"/>
                <a:gd name="T4" fmla="*/ 75 w 75"/>
                <a:gd name="T5" fmla="*/ 82 h 82"/>
              </a:gdLst>
              <a:ahLst/>
              <a:cxnLst>
                <a:cxn ang="0">
                  <a:pos x="T0" y="T1"/>
                </a:cxn>
                <a:cxn ang="0">
                  <a:pos x="T2" y="T3"/>
                </a:cxn>
                <a:cxn ang="0">
                  <a:pos x="T4" y="T5"/>
                </a:cxn>
              </a:cxnLst>
              <a:rect l="0" t="0" r="r" b="b"/>
              <a:pathLst>
                <a:path w="75" h="82">
                  <a:moveTo>
                    <a:pt x="75" y="82"/>
                  </a:moveTo>
                  <a:lnTo>
                    <a:pt x="0" y="0"/>
                  </a:lnTo>
                  <a:lnTo>
                    <a:pt x="75"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Line 51">
              <a:extLst>
                <a:ext uri="{FF2B5EF4-FFF2-40B4-BE49-F238E27FC236}">
                  <a16:creationId xmlns:a16="http://schemas.microsoft.com/office/drawing/2014/main" id="{E9D34998-1C78-4562-864E-E9A7C4F59CC1}"/>
                </a:ext>
              </a:extLst>
            </p:cNvPr>
            <p:cNvSpPr>
              <a:spLocks noChangeShapeType="1"/>
            </p:cNvSpPr>
            <p:nvPr/>
          </p:nvSpPr>
          <p:spPr bwMode="auto">
            <a:xfrm flipH="1" flipV="1">
              <a:off x="10496550" y="4875213"/>
              <a:ext cx="119063" cy="130175"/>
            </a:xfrm>
            <a:prstGeom prst="line">
              <a:avLst/>
            </a:prstGeom>
            <a:noFill/>
            <a:ln w="28575" cap="flat">
              <a:solidFill>
                <a:srgbClr val="232F3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Freeform 52">
              <a:extLst>
                <a:ext uri="{FF2B5EF4-FFF2-40B4-BE49-F238E27FC236}">
                  <a16:creationId xmlns:a16="http://schemas.microsoft.com/office/drawing/2014/main" id="{19EF197C-4C20-46D1-B5DF-55BCC03D6492}"/>
                </a:ext>
              </a:extLst>
            </p:cNvPr>
            <p:cNvSpPr>
              <a:spLocks/>
            </p:cNvSpPr>
            <p:nvPr/>
          </p:nvSpPr>
          <p:spPr bwMode="auto">
            <a:xfrm>
              <a:off x="10293350" y="4875213"/>
              <a:ext cx="119063" cy="130175"/>
            </a:xfrm>
            <a:custGeom>
              <a:avLst/>
              <a:gdLst>
                <a:gd name="T0" fmla="*/ 0 w 75"/>
                <a:gd name="T1" fmla="*/ 82 h 82"/>
                <a:gd name="T2" fmla="*/ 75 w 75"/>
                <a:gd name="T3" fmla="*/ 0 h 82"/>
                <a:gd name="T4" fmla="*/ 0 w 75"/>
                <a:gd name="T5" fmla="*/ 82 h 82"/>
              </a:gdLst>
              <a:ahLst/>
              <a:cxnLst>
                <a:cxn ang="0">
                  <a:pos x="T0" y="T1"/>
                </a:cxn>
                <a:cxn ang="0">
                  <a:pos x="T2" y="T3"/>
                </a:cxn>
                <a:cxn ang="0">
                  <a:pos x="T4" y="T5"/>
                </a:cxn>
              </a:cxnLst>
              <a:rect l="0" t="0" r="r" b="b"/>
              <a:pathLst>
                <a:path w="75" h="82">
                  <a:moveTo>
                    <a:pt x="0" y="82"/>
                  </a:moveTo>
                  <a:lnTo>
                    <a:pt x="75" y="0"/>
                  </a:lnTo>
                  <a:lnTo>
                    <a:pt x="0"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Line 53">
              <a:extLst>
                <a:ext uri="{FF2B5EF4-FFF2-40B4-BE49-F238E27FC236}">
                  <a16:creationId xmlns:a16="http://schemas.microsoft.com/office/drawing/2014/main" id="{C47C3D9F-8CA4-47FF-8819-F8AFA6033A7F}"/>
                </a:ext>
              </a:extLst>
            </p:cNvPr>
            <p:cNvSpPr>
              <a:spLocks noChangeShapeType="1"/>
            </p:cNvSpPr>
            <p:nvPr/>
          </p:nvSpPr>
          <p:spPr bwMode="auto">
            <a:xfrm flipV="1">
              <a:off x="10293350" y="4875213"/>
              <a:ext cx="119063" cy="130175"/>
            </a:xfrm>
            <a:prstGeom prst="line">
              <a:avLst/>
            </a:prstGeom>
            <a:noFill/>
            <a:ln w="28575" cap="flat">
              <a:solidFill>
                <a:srgbClr val="232F3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40" name="Group 39">
            <a:extLst>
              <a:ext uri="{FF2B5EF4-FFF2-40B4-BE49-F238E27FC236}">
                <a16:creationId xmlns:a16="http://schemas.microsoft.com/office/drawing/2014/main" id="{EDE41EA9-661B-423D-BDC0-B1BA02CF7435}"/>
              </a:ext>
            </a:extLst>
          </p:cNvPr>
          <p:cNvGrpSpPr/>
          <p:nvPr/>
        </p:nvGrpSpPr>
        <p:grpSpPr>
          <a:xfrm>
            <a:off x="4791075" y="1643063"/>
            <a:ext cx="6010275" cy="1538288"/>
            <a:chOff x="4791075" y="1643063"/>
            <a:chExt cx="6010275" cy="1538288"/>
          </a:xfrm>
        </p:grpSpPr>
        <p:sp>
          <p:nvSpPr>
            <p:cNvPr id="41" name="Freeform 11">
              <a:extLst>
                <a:ext uri="{FF2B5EF4-FFF2-40B4-BE49-F238E27FC236}">
                  <a16:creationId xmlns:a16="http://schemas.microsoft.com/office/drawing/2014/main" id="{4E293783-2C9F-44DF-9017-3A8ED962DAC2}"/>
                </a:ext>
              </a:extLst>
            </p:cNvPr>
            <p:cNvSpPr>
              <a:spLocks/>
            </p:cNvSpPr>
            <p:nvPr/>
          </p:nvSpPr>
          <p:spPr bwMode="auto">
            <a:xfrm>
              <a:off x="9356725" y="1749426"/>
              <a:ext cx="1444625" cy="544513"/>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3"/>
                  </a:lnTo>
                  <a:cubicBezTo>
                    <a:pt x="3232" y="145"/>
                    <a:pt x="3088" y="0"/>
                    <a:pt x="2909" y="0"/>
                  </a:cubicBezTo>
                  <a:lnTo>
                    <a:pt x="323" y="0"/>
                  </a:lnTo>
                  <a:cubicBezTo>
                    <a:pt x="145" y="0"/>
                    <a:pt x="0" y="145"/>
                    <a:pt x="0" y="323"/>
                  </a:cubicBezTo>
                  <a:lnTo>
                    <a:pt x="0" y="893"/>
                  </a:lnTo>
                  <a:cubicBezTo>
                    <a:pt x="0" y="1072"/>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12">
              <a:extLst>
                <a:ext uri="{FF2B5EF4-FFF2-40B4-BE49-F238E27FC236}">
                  <a16:creationId xmlns:a16="http://schemas.microsoft.com/office/drawing/2014/main" id="{76EE178F-00E2-4A57-AAD0-E8FC8A4CAC24}"/>
                </a:ext>
              </a:extLst>
            </p:cNvPr>
            <p:cNvSpPr>
              <a:spLocks/>
            </p:cNvSpPr>
            <p:nvPr/>
          </p:nvSpPr>
          <p:spPr bwMode="auto">
            <a:xfrm>
              <a:off x="9356725" y="1749426"/>
              <a:ext cx="1444625" cy="544513"/>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3"/>
                  </a:lnTo>
                  <a:cubicBezTo>
                    <a:pt x="3232" y="145"/>
                    <a:pt x="3088" y="0"/>
                    <a:pt x="2909" y="0"/>
                  </a:cubicBezTo>
                  <a:lnTo>
                    <a:pt x="323" y="0"/>
                  </a:lnTo>
                  <a:cubicBezTo>
                    <a:pt x="145" y="0"/>
                    <a:pt x="0" y="145"/>
                    <a:pt x="0" y="323"/>
                  </a:cubicBezTo>
                  <a:lnTo>
                    <a:pt x="0" y="893"/>
                  </a:lnTo>
                  <a:cubicBezTo>
                    <a:pt x="0" y="1072"/>
                    <a:pt x="145" y="1216"/>
                    <a:pt x="323" y="1216"/>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Freeform 13">
              <a:extLst>
                <a:ext uri="{FF2B5EF4-FFF2-40B4-BE49-F238E27FC236}">
                  <a16:creationId xmlns:a16="http://schemas.microsoft.com/office/drawing/2014/main" id="{CC248963-7B5F-4294-8B87-7FC22CBFB779}"/>
                </a:ext>
              </a:extLst>
            </p:cNvPr>
            <p:cNvSpPr>
              <a:spLocks/>
            </p:cNvSpPr>
            <p:nvPr/>
          </p:nvSpPr>
          <p:spPr bwMode="auto">
            <a:xfrm>
              <a:off x="9634538" y="1838326"/>
              <a:ext cx="171450" cy="173038"/>
            </a:xfrm>
            <a:custGeom>
              <a:avLst/>
              <a:gdLst>
                <a:gd name="T0" fmla="*/ 194 w 386"/>
                <a:gd name="T1" fmla="*/ 386 h 386"/>
                <a:gd name="T2" fmla="*/ 386 w 386"/>
                <a:gd name="T3" fmla="*/ 194 h 386"/>
                <a:gd name="T4" fmla="*/ 273 w 386"/>
                <a:gd name="T5" fmla="*/ 18 h 386"/>
                <a:gd name="T6" fmla="*/ 194 w 386"/>
                <a:gd name="T7" fmla="*/ 0 h 386"/>
                <a:gd name="T8" fmla="*/ 115 w 386"/>
                <a:gd name="T9" fmla="*/ 18 h 386"/>
                <a:gd name="T10" fmla="*/ 3 w 386"/>
                <a:gd name="T11" fmla="*/ 194 h 386"/>
                <a:gd name="T12" fmla="*/ 194 w 386"/>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6" h="386">
                  <a:moveTo>
                    <a:pt x="194" y="386"/>
                  </a:moveTo>
                  <a:cubicBezTo>
                    <a:pt x="300" y="386"/>
                    <a:pt x="386" y="300"/>
                    <a:pt x="386" y="194"/>
                  </a:cubicBezTo>
                  <a:cubicBezTo>
                    <a:pt x="386" y="115"/>
                    <a:pt x="339" y="50"/>
                    <a:pt x="273" y="18"/>
                  </a:cubicBezTo>
                  <a:cubicBezTo>
                    <a:pt x="248" y="7"/>
                    <a:pt x="221" y="0"/>
                    <a:pt x="194" y="0"/>
                  </a:cubicBezTo>
                  <a:cubicBezTo>
                    <a:pt x="167" y="0"/>
                    <a:pt x="138" y="7"/>
                    <a:pt x="115" y="18"/>
                  </a:cubicBezTo>
                  <a:cubicBezTo>
                    <a:pt x="50" y="47"/>
                    <a:pt x="3" y="115"/>
                    <a:pt x="3" y="194"/>
                  </a:cubicBezTo>
                  <a:cubicBezTo>
                    <a:pt x="0" y="300"/>
                    <a:pt x="88" y="386"/>
                    <a:pt x="194" y="386"/>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14">
              <a:extLst>
                <a:ext uri="{FF2B5EF4-FFF2-40B4-BE49-F238E27FC236}">
                  <a16:creationId xmlns:a16="http://schemas.microsoft.com/office/drawing/2014/main" id="{9CF14860-79B9-4B08-ADD7-2D3E289641EF}"/>
                </a:ext>
              </a:extLst>
            </p:cNvPr>
            <p:cNvSpPr>
              <a:spLocks/>
            </p:cNvSpPr>
            <p:nvPr/>
          </p:nvSpPr>
          <p:spPr bwMode="auto">
            <a:xfrm>
              <a:off x="9591675" y="2030413"/>
              <a:ext cx="258763" cy="130175"/>
            </a:xfrm>
            <a:custGeom>
              <a:avLst/>
              <a:gdLst>
                <a:gd name="T0" fmla="*/ 288 w 577"/>
                <a:gd name="T1" fmla="*/ 0 h 289"/>
                <a:gd name="T2" fmla="*/ 0 w 577"/>
                <a:gd name="T3" fmla="*/ 289 h 289"/>
                <a:gd name="T4" fmla="*/ 577 w 577"/>
                <a:gd name="T5" fmla="*/ 289 h 289"/>
                <a:gd name="T6" fmla="*/ 288 w 577"/>
                <a:gd name="T7" fmla="*/ 0 h 289"/>
              </a:gdLst>
              <a:ahLst/>
              <a:cxnLst>
                <a:cxn ang="0">
                  <a:pos x="T0" y="T1"/>
                </a:cxn>
                <a:cxn ang="0">
                  <a:pos x="T2" y="T3"/>
                </a:cxn>
                <a:cxn ang="0">
                  <a:pos x="T4" y="T5"/>
                </a:cxn>
                <a:cxn ang="0">
                  <a:pos x="T6" y="T7"/>
                </a:cxn>
              </a:cxnLst>
              <a:rect l="0" t="0" r="r" b="b"/>
              <a:pathLst>
                <a:path w="577" h="289">
                  <a:moveTo>
                    <a:pt x="288" y="0"/>
                  </a:moveTo>
                  <a:cubicBezTo>
                    <a:pt x="128" y="0"/>
                    <a:pt x="0" y="128"/>
                    <a:pt x="0" y="289"/>
                  </a:cubicBezTo>
                  <a:lnTo>
                    <a:pt x="577" y="289"/>
                  </a:lnTo>
                  <a:cubicBezTo>
                    <a:pt x="577" y="131"/>
                    <a:pt x="446" y="0"/>
                    <a:pt x="288" y="0"/>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15">
              <a:extLst>
                <a:ext uri="{FF2B5EF4-FFF2-40B4-BE49-F238E27FC236}">
                  <a16:creationId xmlns:a16="http://schemas.microsoft.com/office/drawing/2014/main" id="{21689F4C-AA2E-49AE-8037-08C5D18D4B20}"/>
                </a:ext>
              </a:extLst>
            </p:cNvPr>
            <p:cNvSpPr>
              <a:spLocks/>
            </p:cNvSpPr>
            <p:nvPr/>
          </p:nvSpPr>
          <p:spPr bwMode="auto">
            <a:xfrm>
              <a:off x="9451975" y="2074863"/>
              <a:ext cx="119063" cy="87313"/>
            </a:xfrm>
            <a:custGeom>
              <a:avLst/>
              <a:gdLst>
                <a:gd name="T0" fmla="*/ 0 w 268"/>
                <a:gd name="T1" fmla="*/ 194 h 194"/>
                <a:gd name="T2" fmla="*/ 226 w 268"/>
                <a:gd name="T3" fmla="*/ 194 h 194"/>
                <a:gd name="T4" fmla="*/ 268 w 268"/>
                <a:gd name="T5" fmla="*/ 18 h 194"/>
                <a:gd name="T6" fmla="*/ 192 w 268"/>
                <a:gd name="T7" fmla="*/ 2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6" y="194"/>
                  </a:lnTo>
                  <a:cubicBezTo>
                    <a:pt x="226" y="131"/>
                    <a:pt x="241" y="72"/>
                    <a:pt x="268" y="18"/>
                  </a:cubicBezTo>
                  <a:cubicBezTo>
                    <a:pt x="246" y="7"/>
                    <a:pt x="219" y="2"/>
                    <a:pt x="192" y="2"/>
                  </a:cubicBezTo>
                  <a:cubicBezTo>
                    <a:pt x="86" y="0"/>
                    <a:pt x="0" y="88"/>
                    <a:pt x="0" y="194"/>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16">
              <a:extLst>
                <a:ext uri="{FF2B5EF4-FFF2-40B4-BE49-F238E27FC236}">
                  <a16:creationId xmlns:a16="http://schemas.microsoft.com/office/drawing/2014/main" id="{B8BADEC3-ACBF-486F-B677-47D1759BC87B}"/>
                </a:ext>
              </a:extLst>
            </p:cNvPr>
            <p:cNvSpPr>
              <a:spLocks/>
            </p:cNvSpPr>
            <p:nvPr/>
          </p:nvSpPr>
          <p:spPr bwMode="auto">
            <a:xfrm>
              <a:off x="9472613" y="1925638"/>
              <a:ext cx="128588" cy="128588"/>
            </a:xfrm>
            <a:custGeom>
              <a:avLst/>
              <a:gdLst>
                <a:gd name="T0" fmla="*/ 145 w 289"/>
                <a:gd name="T1" fmla="*/ 0 h 289"/>
                <a:gd name="T2" fmla="*/ 0 w 289"/>
                <a:gd name="T3" fmla="*/ 144 h 289"/>
                <a:gd name="T4" fmla="*/ 52 w 289"/>
                <a:gd name="T5" fmla="*/ 255 h 289"/>
                <a:gd name="T6" fmla="*/ 136 w 289"/>
                <a:gd name="T7" fmla="*/ 289 h 289"/>
                <a:gd name="T8" fmla="*/ 145 w 289"/>
                <a:gd name="T9" fmla="*/ 289 h 289"/>
                <a:gd name="T10" fmla="*/ 154 w 289"/>
                <a:gd name="T11" fmla="*/ 289 h 289"/>
                <a:gd name="T12" fmla="*/ 237 w 289"/>
                <a:gd name="T13" fmla="*/ 255 h 289"/>
                <a:gd name="T14" fmla="*/ 289 w 289"/>
                <a:gd name="T15" fmla="*/ 144 h 289"/>
                <a:gd name="T16" fmla="*/ 145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5" y="0"/>
                  </a:moveTo>
                  <a:cubicBezTo>
                    <a:pt x="66" y="0"/>
                    <a:pt x="0" y="65"/>
                    <a:pt x="0" y="144"/>
                  </a:cubicBezTo>
                  <a:cubicBezTo>
                    <a:pt x="0" y="190"/>
                    <a:pt x="21" y="228"/>
                    <a:pt x="52" y="255"/>
                  </a:cubicBezTo>
                  <a:cubicBezTo>
                    <a:pt x="75" y="275"/>
                    <a:pt x="104" y="287"/>
                    <a:pt x="136" y="289"/>
                  </a:cubicBezTo>
                  <a:cubicBezTo>
                    <a:pt x="138" y="289"/>
                    <a:pt x="140" y="289"/>
                    <a:pt x="145" y="289"/>
                  </a:cubicBezTo>
                  <a:cubicBezTo>
                    <a:pt x="147" y="289"/>
                    <a:pt x="149" y="289"/>
                    <a:pt x="154" y="289"/>
                  </a:cubicBezTo>
                  <a:cubicBezTo>
                    <a:pt x="185" y="287"/>
                    <a:pt x="215" y="275"/>
                    <a:pt x="237" y="255"/>
                  </a:cubicBezTo>
                  <a:cubicBezTo>
                    <a:pt x="269" y="228"/>
                    <a:pt x="289" y="190"/>
                    <a:pt x="289" y="144"/>
                  </a:cubicBezTo>
                  <a:cubicBezTo>
                    <a:pt x="289" y="65"/>
                    <a:pt x="226" y="0"/>
                    <a:pt x="145" y="0"/>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Rectangle 17">
              <a:extLst>
                <a:ext uri="{FF2B5EF4-FFF2-40B4-BE49-F238E27FC236}">
                  <a16:creationId xmlns:a16="http://schemas.microsoft.com/office/drawing/2014/main" id="{A4D230B5-B50B-4E90-B435-D50B9295BE04}"/>
                </a:ext>
              </a:extLst>
            </p:cNvPr>
            <p:cNvSpPr>
              <a:spLocks noChangeArrowheads="1"/>
            </p:cNvSpPr>
            <p:nvPr/>
          </p:nvSpPr>
          <p:spPr bwMode="auto">
            <a:xfrm>
              <a:off x="9950450" y="1770063"/>
              <a:ext cx="850900" cy="31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Segoe UI" panose="020B0502040204020203" pitchFamily="34" charset="0"/>
                </a:rPr>
                <a:t>Busines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 name="Rectangle 18">
              <a:extLst>
                <a:ext uri="{FF2B5EF4-FFF2-40B4-BE49-F238E27FC236}">
                  <a16:creationId xmlns:a16="http://schemas.microsoft.com/office/drawing/2014/main" id="{CFB5B3DA-65FE-4B33-9027-91012195652C}"/>
                </a:ext>
              </a:extLst>
            </p:cNvPr>
            <p:cNvSpPr>
              <a:spLocks noChangeArrowheads="1"/>
            </p:cNvSpPr>
            <p:nvPr/>
          </p:nvSpPr>
          <p:spPr bwMode="auto">
            <a:xfrm>
              <a:off x="10079038" y="2001838"/>
              <a:ext cx="642938"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Segoe UI" panose="020B0502040204020203" pitchFamily="34" charset="0"/>
                </a:rPr>
                <a:t>Users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9" name="Freeform 19">
              <a:extLst>
                <a:ext uri="{FF2B5EF4-FFF2-40B4-BE49-F238E27FC236}">
                  <a16:creationId xmlns:a16="http://schemas.microsoft.com/office/drawing/2014/main" id="{D6CB7DBF-7F95-4163-B70B-D627583AC766}"/>
                </a:ext>
              </a:extLst>
            </p:cNvPr>
            <p:cNvSpPr>
              <a:spLocks noEditPoints="1"/>
            </p:cNvSpPr>
            <p:nvPr/>
          </p:nvSpPr>
          <p:spPr bwMode="auto">
            <a:xfrm>
              <a:off x="5224463" y="2014538"/>
              <a:ext cx="4046538" cy="1166813"/>
            </a:xfrm>
            <a:custGeom>
              <a:avLst/>
              <a:gdLst>
                <a:gd name="T0" fmla="*/ 32 w 9056"/>
                <a:gd name="T1" fmla="*/ 2367 h 2607"/>
                <a:gd name="T2" fmla="*/ 0 w 9056"/>
                <a:gd name="T3" fmla="*/ 2207 h 2607"/>
                <a:gd name="T4" fmla="*/ 32 w 9056"/>
                <a:gd name="T5" fmla="*/ 2207 h 2607"/>
                <a:gd name="T6" fmla="*/ 0 w 9056"/>
                <a:gd name="T7" fmla="*/ 1599 h 2607"/>
                <a:gd name="T8" fmla="*/ 16 w 9056"/>
                <a:gd name="T9" fmla="*/ 1839 h 2607"/>
                <a:gd name="T10" fmla="*/ 16 w 9056"/>
                <a:gd name="T11" fmla="*/ 1199 h 2607"/>
                <a:gd name="T12" fmla="*/ 0 w 9056"/>
                <a:gd name="T13" fmla="*/ 1439 h 2607"/>
                <a:gd name="T14" fmla="*/ 32 w 9056"/>
                <a:gd name="T15" fmla="*/ 831 h 2607"/>
                <a:gd name="T16" fmla="*/ 0 w 9056"/>
                <a:gd name="T17" fmla="*/ 671 h 2607"/>
                <a:gd name="T18" fmla="*/ 32 w 9056"/>
                <a:gd name="T19" fmla="*/ 671 h 2607"/>
                <a:gd name="T20" fmla="*/ 0 w 9056"/>
                <a:gd name="T21" fmla="*/ 63 h 2607"/>
                <a:gd name="T22" fmla="*/ 16 w 9056"/>
                <a:gd name="T23" fmla="*/ 303 h 2607"/>
                <a:gd name="T24" fmla="*/ 369 w 9056"/>
                <a:gd name="T25" fmla="*/ 16 h 2607"/>
                <a:gd name="T26" fmla="*/ 129 w 9056"/>
                <a:gd name="T27" fmla="*/ 0 h 2607"/>
                <a:gd name="T28" fmla="*/ 737 w 9056"/>
                <a:gd name="T29" fmla="*/ 32 h 2607"/>
                <a:gd name="T30" fmla="*/ 897 w 9056"/>
                <a:gd name="T31" fmla="*/ 0 h 2607"/>
                <a:gd name="T32" fmla="*/ 897 w 9056"/>
                <a:gd name="T33" fmla="*/ 32 h 2607"/>
                <a:gd name="T34" fmla="*/ 1505 w 9056"/>
                <a:gd name="T35" fmla="*/ 0 h 2607"/>
                <a:gd name="T36" fmla="*/ 1265 w 9056"/>
                <a:gd name="T37" fmla="*/ 16 h 2607"/>
                <a:gd name="T38" fmla="*/ 1905 w 9056"/>
                <a:gd name="T39" fmla="*/ 16 h 2607"/>
                <a:gd name="T40" fmla="*/ 1665 w 9056"/>
                <a:gd name="T41" fmla="*/ 0 h 2607"/>
                <a:gd name="T42" fmla="*/ 2273 w 9056"/>
                <a:gd name="T43" fmla="*/ 32 h 2607"/>
                <a:gd name="T44" fmla="*/ 2433 w 9056"/>
                <a:gd name="T45" fmla="*/ 0 h 2607"/>
                <a:gd name="T46" fmla="*/ 2433 w 9056"/>
                <a:gd name="T47" fmla="*/ 32 h 2607"/>
                <a:gd name="T48" fmla="*/ 3041 w 9056"/>
                <a:gd name="T49" fmla="*/ 0 h 2607"/>
                <a:gd name="T50" fmla="*/ 2801 w 9056"/>
                <a:gd name="T51" fmla="*/ 16 h 2607"/>
                <a:gd name="T52" fmla="*/ 3441 w 9056"/>
                <a:gd name="T53" fmla="*/ 16 h 2607"/>
                <a:gd name="T54" fmla="*/ 3201 w 9056"/>
                <a:gd name="T55" fmla="*/ 0 h 2607"/>
                <a:gd name="T56" fmla="*/ 3809 w 9056"/>
                <a:gd name="T57" fmla="*/ 32 h 2607"/>
                <a:gd name="T58" fmla="*/ 3969 w 9056"/>
                <a:gd name="T59" fmla="*/ 0 h 2607"/>
                <a:gd name="T60" fmla="*/ 3969 w 9056"/>
                <a:gd name="T61" fmla="*/ 32 h 2607"/>
                <a:gd name="T62" fmla="*/ 4577 w 9056"/>
                <a:gd name="T63" fmla="*/ 0 h 2607"/>
                <a:gd name="T64" fmla="*/ 4337 w 9056"/>
                <a:gd name="T65" fmla="*/ 16 h 2607"/>
                <a:gd name="T66" fmla="*/ 4977 w 9056"/>
                <a:gd name="T67" fmla="*/ 16 h 2607"/>
                <a:gd name="T68" fmla="*/ 4737 w 9056"/>
                <a:gd name="T69" fmla="*/ 0 h 2607"/>
                <a:gd name="T70" fmla="*/ 5345 w 9056"/>
                <a:gd name="T71" fmla="*/ 32 h 2607"/>
                <a:gd name="T72" fmla="*/ 5505 w 9056"/>
                <a:gd name="T73" fmla="*/ 0 h 2607"/>
                <a:gd name="T74" fmla="*/ 5505 w 9056"/>
                <a:gd name="T75" fmla="*/ 32 h 2607"/>
                <a:gd name="T76" fmla="*/ 6113 w 9056"/>
                <a:gd name="T77" fmla="*/ 0 h 2607"/>
                <a:gd name="T78" fmla="*/ 5873 w 9056"/>
                <a:gd name="T79" fmla="*/ 16 h 2607"/>
                <a:gd name="T80" fmla="*/ 6513 w 9056"/>
                <a:gd name="T81" fmla="*/ 16 h 2607"/>
                <a:gd name="T82" fmla="*/ 6273 w 9056"/>
                <a:gd name="T83" fmla="*/ 0 h 2607"/>
                <a:gd name="T84" fmla="*/ 6881 w 9056"/>
                <a:gd name="T85" fmla="*/ 32 h 2607"/>
                <a:gd name="T86" fmla="*/ 7041 w 9056"/>
                <a:gd name="T87" fmla="*/ 0 h 2607"/>
                <a:gd name="T88" fmla="*/ 7041 w 9056"/>
                <a:gd name="T89" fmla="*/ 32 h 2607"/>
                <a:gd name="T90" fmla="*/ 7649 w 9056"/>
                <a:gd name="T91" fmla="*/ 0 h 2607"/>
                <a:gd name="T92" fmla="*/ 7409 w 9056"/>
                <a:gd name="T93" fmla="*/ 16 h 2607"/>
                <a:gd name="T94" fmla="*/ 8049 w 9056"/>
                <a:gd name="T95" fmla="*/ 16 h 2607"/>
                <a:gd name="T96" fmla="*/ 7809 w 9056"/>
                <a:gd name="T97" fmla="*/ 0 h 2607"/>
                <a:gd name="T98" fmla="*/ 8417 w 9056"/>
                <a:gd name="T99" fmla="*/ 32 h 2607"/>
                <a:gd name="T100" fmla="*/ 8577 w 9056"/>
                <a:gd name="T101" fmla="*/ 0 h 2607"/>
                <a:gd name="T102" fmla="*/ 8577 w 9056"/>
                <a:gd name="T103" fmla="*/ 32 h 2607"/>
                <a:gd name="T104" fmla="*/ 9040 w 9056"/>
                <a:gd name="T105" fmla="*/ 0 h 2607"/>
                <a:gd name="T106" fmla="*/ 8945 w 9056"/>
                <a:gd name="T107" fmla="*/ 16 h 2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56" h="2607">
                  <a:moveTo>
                    <a:pt x="0" y="2591"/>
                  </a:moveTo>
                  <a:lnTo>
                    <a:pt x="0" y="2367"/>
                  </a:lnTo>
                  <a:cubicBezTo>
                    <a:pt x="0" y="2358"/>
                    <a:pt x="7" y="2351"/>
                    <a:pt x="16" y="2351"/>
                  </a:cubicBezTo>
                  <a:cubicBezTo>
                    <a:pt x="25" y="2351"/>
                    <a:pt x="32" y="2358"/>
                    <a:pt x="32" y="2367"/>
                  </a:cubicBezTo>
                  <a:lnTo>
                    <a:pt x="32" y="2591"/>
                  </a:lnTo>
                  <a:cubicBezTo>
                    <a:pt x="32" y="2600"/>
                    <a:pt x="25" y="2607"/>
                    <a:pt x="16" y="2607"/>
                  </a:cubicBezTo>
                  <a:cubicBezTo>
                    <a:pt x="7" y="2607"/>
                    <a:pt x="0" y="2600"/>
                    <a:pt x="0" y="2591"/>
                  </a:cubicBezTo>
                  <a:close/>
                  <a:moveTo>
                    <a:pt x="0" y="2207"/>
                  </a:moveTo>
                  <a:lnTo>
                    <a:pt x="0" y="1983"/>
                  </a:lnTo>
                  <a:cubicBezTo>
                    <a:pt x="0" y="1974"/>
                    <a:pt x="7" y="1967"/>
                    <a:pt x="16" y="1967"/>
                  </a:cubicBezTo>
                  <a:cubicBezTo>
                    <a:pt x="25" y="1967"/>
                    <a:pt x="32" y="1974"/>
                    <a:pt x="32" y="1983"/>
                  </a:cubicBezTo>
                  <a:lnTo>
                    <a:pt x="32" y="2207"/>
                  </a:lnTo>
                  <a:cubicBezTo>
                    <a:pt x="32" y="2216"/>
                    <a:pt x="25" y="2223"/>
                    <a:pt x="16" y="2223"/>
                  </a:cubicBezTo>
                  <a:cubicBezTo>
                    <a:pt x="7" y="2223"/>
                    <a:pt x="0" y="2216"/>
                    <a:pt x="0" y="2207"/>
                  </a:cubicBezTo>
                  <a:close/>
                  <a:moveTo>
                    <a:pt x="0" y="1823"/>
                  </a:moveTo>
                  <a:lnTo>
                    <a:pt x="0" y="1599"/>
                  </a:lnTo>
                  <a:cubicBezTo>
                    <a:pt x="0" y="1590"/>
                    <a:pt x="7" y="1583"/>
                    <a:pt x="16" y="1583"/>
                  </a:cubicBezTo>
                  <a:cubicBezTo>
                    <a:pt x="25" y="1583"/>
                    <a:pt x="32" y="1590"/>
                    <a:pt x="32" y="1599"/>
                  </a:cubicBezTo>
                  <a:lnTo>
                    <a:pt x="32" y="1823"/>
                  </a:lnTo>
                  <a:cubicBezTo>
                    <a:pt x="32" y="1832"/>
                    <a:pt x="25" y="1839"/>
                    <a:pt x="16" y="1839"/>
                  </a:cubicBezTo>
                  <a:cubicBezTo>
                    <a:pt x="7" y="1839"/>
                    <a:pt x="0" y="1832"/>
                    <a:pt x="0" y="1823"/>
                  </a:cubicBezTo>
                  <a:close/>
                  <a:moveTo>
                    <a:pt x="0" y="1439"/>
                  </a:moveTo>
                  <a:lnTo>
                    <a:pt x="0" y="1215"/>
                  </a:lnTo>
                  <a:cubicBezTo>
                    <a:pt x="0" y="1206"/>
                    <a:pt x="7" y="1199"/>
                    <a:pt x="16" y="1199"/>
                  </a:cubicBezTo>
                  <a:cubicBezTo>
                    <a:pt x="25" y="1199"/>
                    <a:pt x="32" y="1206"/>
                    <a:pt x="32" y="1215"/>
                  </a:cubicBezTo>
                  <a:lnTo>
                    <a:pt x="32" y="1439"/>
                  </a:lnTo>
                  <a:cubicBezTo>
                    <a:pt x="32" y="1448"/>
                    <a:pt x="25" y="1455"/>
                    <a:pt x="16" y="1455"/>
                  </a:cubicBezTo>
                  <a:cubicBezTo>
                    <a:pt x="7" y="1455"/>
                    <a:pt x="0" y="1448"/>
                    <a:pt x="0" y="1439"/>
                  </a:cubicBezTo>
                  <a:close/>
                  <a:moveTo>
                    <a:pt x="0" y="1055"/>
                  </a:moveTo>
                  <a:lnTo>
                    <a:pt x="0" y="831"/>
                  </a:lnTo>
                  <a:cubicBezTo>
                    <a:pt x="0" y="822"/>
                    <a:pt x="7" y="815"/>
                    <a:pt x="16" y="815"/>
                  </a:cubicBezTo>
                  <a:cubicBezTo>
                    <a:pt x="25" y="815"/>
                    <a:pt x="32" y="822"/>
                    <a:pt x="32" y="831"/>
                  </a:cubicBezTo>
                  <a:lnTo>
                    <a:pt x="32" y="1055"/>
                  </a:lnTo>
                  <a:cubicBezTo>
                    <a:pt x="32" y="1064"/>
                    <a:pt x="25" y="1071"/>
                    <a:pt x="16" y="1071"/>
                  </a:cubicBezTo>
                  <a:cubicBezTo>
                    <a:pt x="7" y="1071"/>
                    <a:pt x="0" y="1064"/>
                    <a:pt x="0" y="1055"/>
                  </a:cubicBezTo>
                  <a:close/>
                  <a:moveTo>
                    <a:pt x="0" y="671"/>
                  </a:moveTo>
                  <a:lnTo>
                    <a:pt x="0" y="447"/>
                  </a:lnTo>
                  <a:cubicBezTo>
                    <a:pt x="0" y="438"/>
                    <a:pt x="7" y="431"/>
                    <a:pt x="16" y="431"/>
                  </a:cubicBezTo>
                  <a:cubicBezTo>
                    <a:pt x="25" y="431"/>
                    <a:pt x="32" y="438"/>
                    <a:pt x="32" y="447"/>
                  </a:cubicBezTo>
                  <a:lnTo>
                    <a:pt x="32" y="671"/>
                  </a:lnTo>
                  <a:cubicBezTo>
                    <a:pt x="32" y="680"/>
                    <a:pt x="25" y="687"/>
                    <a:pt x="16" y="687"/>
                  </a:cubicBezTo>
                  <a:cubicBezTo>
                    <a:pt x="7" y="687"/>
                    <a:pt x="0" y="680"/>
                    <a:pt x="0" y="671"/>
                  </a:cubicBezTo>
                  <a:close/>
                  <a:moveTo>
                    <a:pt x="0" y="287"/>
                  </a:moveTo>
                  <a:lnTo>
                    <a:pt x="0" y="63"/>
                  </a:lnTo>
                  <a:cubicBezTo>
                    <a:pt x="0" y="54"/>
                    <a:pt x="7" y="47"/>
                    <a:pt x="16" y="47"/>
                  </a:cubicBezTo>
                  <a:cubicBezTo>
                    <a:pt x="25" y="47"/>
                    <a:pt x="32" y="54"/>
                    <a:pt x="32" y="63"/>
                  </a:cubicBezTo>
                  <a:lnTo>
                    <a:pt x="32" y="287"/>
                  </a:lnTo>
                  <a:cubicBezTo>
                    <a:pt x="32" y="296"/>
                    <a:pt x="25" y="303"/>
                    <a:pt x="16" y="303"/>
                  </a:cubicBezTo>
                  <a:cubicBezTo>
                    <a:pt x="7" y="303"/>
                    <a:pt x="0" y="296"/>
                    <a:pt x="0" y="287"/>
                  </a:cubicBezTo>
                  <a:close/>
                  <a:moveTo>
                    <a:pt x="129" y="0"/>
                  </a:moveTo>
                  <a:lnTo>
                    <a:pt x="353" y="0"/>
                  </a:lnTo>
                  <a:cubicBezTo>
                    <a:pt x="362" y="0"/>
                    <a:pt x="369" y="7"/>
                    <a:pt x="369" y="16"/>
                  </a:cubicBezTo>
                  <a:cubicBezTo>
                    <a:pt x="369" y="25"/>
                    <a:pt x="362" y="32"/>
                    <a:pt x="353" y="32"/>
                  </a:cubicBezTo>
                  <a:lnTo>
                    <a:pt x="129" y="32"/>
                  </a:lnTo>
                  <a:cubicBezTo>
                    <a:pt x="120" y="32"/>
                    <a:pt x="113" y="25"/>
                    <a:pt x="113" y="16"/>
                  </a:cubicBezTo>
                  <a:cubicBezTo>
                    <a:pt x="113" y="7"/>
                    <a:pt x="120" y="0"/>
                    <a:pt x="129" y="0"/>
                  </a:cubicBezTo>
                  <a:close/>
                  <a:moveTo>
                    <a:pt x="513" y="0"/>
                  </a:moveTo>
                  <a:lnTo>
                    <a:pt x="737" y="0"/>
                  </a:lnTo>
                  <a:cubicBezTo>
                    <a:pt x="746" y="0"/>
                    <a:pt x="753" y="7"/>
                    <a:pt x="753" y="16"/>
                  </a:cubicBezTo>
                  <a:cubicBezTo>
                    <a:pt x="753" y="25"/>
                    <a:pt x="746" y="32"/>
                    <a:pt x="737" y="32"/>
                  </a:cubicBezTo>
                  <a:lnTo>
                    <a:pt x="513" y="32"/>
                  </a:lnTo>
                  <a:cubicBezTo>
                    <a:pt x="504" y="32"/>
                    <a:pt x="497" y="25"/>
                    <a:pt x="497" y="16"/>
                  </a:cubicBezTo>
                  <a:cubicBezTo>
                    <a:pt x="497" y="7"/>
                    <a:pt x="504" y="0"/>
                    <a:pt x="513" y="0"/>
                  </a:cubicBezTo>
                  <a:close/>
                  <a:moveTo>
                    <a:pt x="897" y="0"/>
                  </a:moveTo>
                  <a:lnTo>
                    <a:pt x="1121" y="0"/>
                  </a:lnTo>
                  <a:cubicBezTo>
                    <a:pt x="1130" y="0"/>
                    <a:pt x="1137" y="7"/>
                    <a:pt x="1137" y="16"/>
                  </a:cubicBezTo>
                  <a:cubicBezTo>
                    <a:pt x="1137" y="25"/>
                    <a:pt x="1130" y="32"/>
                    <a:pt x="1121" y="32"/>
                  </a:cubicBezTo>
                  <a:lnTo>
                    <a:pt x="897" y="32"/>
                  </a:lnTo>
                  <a:cubicBezTo>
                    <a:pt x="888" y="32"/>
                    <a:pt x="881" y="25"/>
                    <a:pt x="881" y="16"/>
                  </a:cubicBezTo>
                  <a:cubicBezTo>
                    <a:pt x="881" y="7"/>
                    <a:pt x="888" y="0"/>
                    <a:pt x="897" y="0"/>
                  </a:cubicBezTo>
                  <a:close/>
                  <a:moveTo>
                    <a:pt x="1281" y="0"/>
                  </a:moveTo>
                  <a:lnTo>
                    <a:pt x="1505" y="0"/>
                  </a:lnTo>
                  <a:cubicBezTo>
                    <a:pt x="1514" y="0"/>
                    <a:pt x="1521" y="7"/>
                    <a:pt x="1521" y="16"/>
                  </a:cubicBezTo>
                  <a:cubicBezTo>
                    <a:pt x="1521" y="25"/>
                    <a:pt x="1514" y="32"/>
                    <a:pt x="1505" y="32"/>
                  </a:cubicBezTo>
                  <a:lnTo>
                    <a:pt x="1281" y="32"/>
                  </a:lnTo>
                  <a:cubicBezTo>
                    <a:pt x="1272" y="32"/>
                    <a:pt x="1265" y="25"/>
                    <a:pt x="1265" y="16"/>
                  </a:cubicBezTo>
                  <a:cubicBezTo>
                    <a:pt x="1265" y="7"/>
                    <a:pt x="1272" y="0"/>
                    <a:pt x="1281" y="0"/>
                  </a:cubicBezTo>
                  <a:close/>
                  <a:moveTo>
                    <a:pt x="1665" y="0"/>
                  </a:moveTo>
                  <a:lnTo>
                    <a:pt x="1889" y="0"/>
                  </a:lnTo>
                  <a:cubicBezTo>
                    <a:pt x="1898" y="0"/>
                    <a:pt x="1905" y="7"/>
                    <a:pt x="1905" y="16"/>
                  </a:cubicBezTo>
                  <a:cubicBezTo>
                    <a:pt x="1905" y="25"/>
                    <a:pt x="1898" y="32"/>
                    <a:pt x="1889" y="32"/>
                  </a:cubicBezTo>
                  <a:lnTo>
                    <a:pt x="1665" y="32"/>
                  </a:lnTo>
                  <a:cubicBezTo>
                    <a:pt x="1656" y="32"/>
                    <a:pt x="1649" y="25"/>
                    <a:pt x="1649" y="16"/>
                  </a:cubicBezTo>
                  <a:cubicBezTo>
                    <a:pt x="1649" y="7"/>
                    <a:pt x="1656" y="0"/>
                    <a:pt x="1665" y="0"/>
                  </a:cubicBezTo>
                  <a:close/>
                  <a:moveTo>
                    <a:pt x="2049" y="0"/>
                  </a:moveTo>
                  <a:lnTo>
                    <a:pt x="2273" y="0"/>
                  </a:lnTo>
                  <a:cubicBezTo>
                    <a:pt x="2282" y="0"/>
                    <a:pt x="2289" y="7"/>
                    <a:pt x="2289" y="16"/>
                  </a:cubicBezTo>
                  <a:cubicBezTo>
                    <a:pt x="2289" y="25"/>
                    <a:pt x="2282" y="32"/>
                    <a:pt x="2273" y="32"/>
                  </a:cubicBezTo>
                  <a:lnTo>
                    <a:pt x="2049" y="32"/>
                  </a:lnTo>
                  <a:cubicBezTo>
                    <a:pt x="2040" y="32"/>
                    <a:pt x="2033" y="25"/>
                    <a:pt x="2033" y="16"/>
                  </a:cubicBezTo>
                  <a:cubicBezTo>
                    <a:pt x="2033" y="7"/>
                    <a:pt x="2040" y="0"/>
                    <a:pt x="2049" y="0"/>
                  </a:cubicBezTo>
                  <a:close/>
                  <a:moveTo>
                    <a:pt x="2433" y="0"/>
                  </a:moveTo>
                  <a:lnTo>
                    <a:pt x="2657" y="0"/>
                  </a:lnTo>
                  <a:cubicBezTo>
                    <a:pt x="2666" y="0"/>
                    <a:pt x="2673" y="7"/>
                    <a:pt x="2673" y="16"/>
                  </a:cubicBezTo>
                  <a:cubicBezTo>
                    <a:pt x="2673" y="25"/>
                    <a:pt x="2666" y="32"/>
                    <a:pt x="2657" y="32"/>
                  </a:cubicBezTo>
                  <a:lnTo>
                    <a:pt x="2433" y="32"/>
                  </a:lnTo>
                  <a:cubicBezTo>
                    <a:pt x="2424" y="32"/>
                    <a:pt x="2417" y="25"/>
                    <a:pt x="2417" y="16"/>
                  </a:cubicBezTo>
                  <a:cubicBezTo>
                    <a:pt x="2417" y="7"/>
                    <a:pt x="2424" y="0"/>
                    <a:pt x="2433" y="0"/>
                  </a:cubicBezTo>
                  <a:close/>
                  <a:moveTo>
                    <a:pt x="2817" y="0"/>
                  </a:moveTo>
                  <a:lnTo>
                    <a:pt x="3041" y="0"/>
                  </a:lnTo>
                  <a:cubicBezTo>
                    <a:pt x="3050" y="0"/>
                    <a:pt x="3057" y="7"/>
                    <a:pt x="3057" y="16"/>
                  </a:cubicBezTo>
                  <a:cubicBezTo>
                    <a:pt x="3057" y="25"/>
                    <a:pt x="3050" y="32"/>
                    <a:pt x="3041" y="32"/>
                  </a:cubicBezTo>
                  <a:lnTo>
                    <a:pt x="2817" y="32"/>
                  </a:lnTo>
                  <a:cubicBezTo>
                    <a:pt x="2808" y="32"/>
                    <a:pt x="2801" y="25"/>
                    <a:pt x="2801" y="16"/>
                  </a:cubicBezTo>
                  <a:cubicBezTo>
                    <a:pt x="2801" y="7"/>
                    <a:pt x="2808" y="0"/>
                    <a:pt x="2817" y="0"/>
                  </a:cubicBezTo>
                  <a:close/>
                  <a:moveTo>
                    <a:pt x="3201" y="0"/>
                  </a:moveTo>
                  <a:lnTo>
                    <a:pt x="3425" y="0"/>
                  </a:lnTo>
                  <a:cubicBezTo>
                    <a:pt x="3434" y="0"/>
                    <a:pt x="3441" y="7"/>
                    <a:pt x="3441" y="16"/>
                  </a:cubicBezTo>
                  <a:cubicBezTo>
                    <a:pt x="3441" y="25"/>
                    <a:pt x="3434" y="32"/>
                    <a:pt x="3425" y="32"/>
                  </a:cubicBezTo>
                  <a:lnTo>
                    <a:pt x="3201" y="32"/>
                  </a:lnTo>
                  <a:cubicBezTo>
                    <a:pt x="3192" y="32"/>
                    <a:pt x="3185" y="25"/>
                    <a:pt x="3185" y="16"/>
                  </a:cubicBezTo>
                  <a:cubicBezTo>
                    <a:pt x="3185" y="7"/>
                    <a:pt x="3192" y="0"/>
                    <a:pt x="3201" y="0"/>
                  </a:cubicBezTo>
                  <a:close/>
                  <a:moveTo>
                    <a:pt x="3585" y="0"/>
                  </a:moveTo>
                  <a:lnTo>
                    <a:pt x="3809" y="0"/>
                  </a:lnTo>
                  <a:cubicBezTo>
                    <a:pt x="3818" y="0"/>
                    <a:pt x="3825" y="7"/>
                    <a:pt x="3825" y="16"/>
                  </a:cubicBezTo>
                  <a:cubicBezTo>
                    <a:pt x="3825" y="25"/>
                    <a:pt x="3818" y="32"/>
                    <a:pt x="3809" y="32"/>
                  </a:cubicBezTo>
                  <a:lnTo>
                    <a:pt x="3585" y="32"/>
                  </a:lnTo>
                  <a:cubicBezTo>
                    <a:pt x="3576" y="32"/>
                    <a:pt x="3569" y="25"/>
                    <a:pt x="3569" y="16"/>
                  </a:cubicBezTo>
                  <a:cubicBezTo>
                    <a:pt x="3569" y="7"/>
                    <a:pt x="3576" y="0"/>
                    <a:pt x="3585" y="0"/>
                  </a:cubicBezTo>
                  <a:close/>
                  <a:moveTo>
                    <a:pt x="3969" y="0"/>
                  </a:moveTo>
                  <a:lnTo>
                    <a:pt x="4193" y="0"/>
                  </a:lnTo>
                  <a:cubicBezTo>
                    <a:pt x="4202" y="0"/>
                    <a:pt x="4209" y="7"/>
                    <a:pt x="4209" y="16"/>
                  </a:cubicBezTo>
                  <a:cubicBezTo>
                    <a:pt x="4209" y="25"/>
                    <a:pt x="4202" y="32"/>
                    <a:pt x="4193" y="32"/>
                  </a:cubicBezTo>
                  <a:lnTo>
                    <a:pt x="3969" y="32"/>
                  </a:lnTo>
                  <a:cubicBezTo>
                    <a:pt x="3960" y="32"/>
                    <a:pt x="3953" y="25"/>
                    <a:pt x="3953" y="16"/>
                  </a:cubicBezTo>
                  <a:cubicBezTo>
                    <a:pt x="3953" y="7"/>
                    <a:pt x="3960" y="0"/>
                    <a:pt x="3969" y="0"/>
                  </a:cubicBezTo>
                  <a:close/>
                  <a:moveTo>
                    <a:pt x="4353" y="0"/>
                  </a:moveTo>
                  <a:lnTo>
                    <a:pt x="4577" y="0"/>
                  </a:lnTo>
                  <a:cubicBezTo>
                    <a:pt x="4586" y="0"/>
                    <a:pt x="4593" y="7"/>
                    <a:pt x="4593" y="16"/>
                  </a:cubicBezTo>
                  <a:cubicBezTo>
                    <a:pt x="4593" y="25"/>
                    <a:pt x="4586" y="32"/>
                    <a:pt x="4577" y="32"/>
                  </a:cubicBezTo>
                  <a:lnTo>
                    <a:pt x="4353" y="32"/>
                  </a:lnTo>
                  <a:cubicBezTo>
                    <a:pt x="4344" y="32"/>
                    <a:pt x="4337" y="25"/>
                    <a:pt x="4337" y="16"/>
                  </a:cubicBezTo>
                  <a:cubicBezTo>
                    <a:pt x="4337" y="7"/>
                    <a:pt x="4344" y="0"/>
                    <a:pt x="4353" y="0"/>
                  </a:cubicBezTo>
                  <a:close/>
                  <a:moveTo>
                    <a:pt x="4737" y="0"/>
                  </a:moveTo>
                  <a:lnTo>
                    <a:pt x="4961" y="0"/>
                  </a:lnTo>
                  <a:cubicBezTo>
                    <a:pt x="4970" y="0"/>
                    <a:pt x="4977" y="7"/>
                    <a:pt x="4977" y="16"/>
                  </a:cubicBezTo>
                  <a:cubicBezTo>
                    <a:pt x="4977" y="25"/>
                    <a:pt x="4970" y="32"/>
                    <a:pt x="4961" y="32"/>
                  </a:cubicBezTo>
                  <a:lnTo>
                    <a:pt x="4737" y="32"/>
                  </a:lnTo>
                  <a:cubicBezTo>
                    <a:pt x="4728" y="32"/>
                    <a:pt x="4721" y="25"/>
                    <a:pt x="4721" y="16"/>
                  </a:cubicBezTo>
                  <a:cubicBezTo>
                    <a:pt x="4721" y="7"/>
                    <a:pt x="4728" y="0"/>
                    <a:pt x="4737" y="0"/>
                  </a:cubicBezTo>
                  <a:close/>
                  <a:moveTo>
                    <a:pt x="5121" y="0"/>
                  </a:moveTo>
                  <a:lnTo>
                    <a:pt x="5345" y="0"/>
                  </a:lnTo>
                  <a:cubicBezTo>
                    <a:pt x="5354" y="0"/>
                    <a:pt x="5361" y="7"/>
                    <a:pt x="5361" y="16"/>
                  </a:cubicBezTo>
                  <a:cubicBezTo>
                    <a:pt x="5361" y="25"/>
                    <a:pt x="5354" y="32"/>
                    <a:pt x="5345" y="32"/>
                  </a:cubicBezTo>
                  <a:lnTo>
                    <a:pt x="5121" y="32"/>
                  </a:lnTo>
                  <a:cubicBezTo>
                    <a:pt x="5112" y="32"/>
                    <a:pt x="5105" y="25"/>
                    <a:pt x="5105" y="16"/>
                  </a:cubicBezTo>
                  <a:cubicBezTo>
                    <a:pt x="5105" y="7"/>
                    <a:pt x="5112" y="0"/>
                    <a:pt x="5121" y="0"/>
                  </a:cubicBezTo>
                  <a:close/>
                  <a:moveTo>
                    <a:pt x="5505" y="0"/>
                  </a:moveTo>
                  <a:lnTo>
                    <a:pt x="5729" y="0"/>
                  </a:lnTo>
                  <a:cubicBezTo>
                    <a:pt x="5738" y="0"/>
                    <a:pt x="5745" y="7"/>
                    <a:pt x="5745" y="16"/>
                  </a:cubicBezTo>
                  <a:cubicBezTo>
                    <a:pt x="5745" y="25"/>
                    <a:pt x="5738" y="32"/>
                    <a:pt x="5729" y="32"/>
                  </a:cubicBezTo>
                  <a:lnTo>
                    <a:pt x="5505" y="32"/>
                  </a:lnTo>
                  <a:cubicBezTo>
                    <a:pt x="5496" y="32"/>
                    <a:pt x="5489" y="25"/>
                    <a:pt x="5489" y="16"/>
                  </a:cubicBezTo>
                  <a:cubicBezTo>
                    <a:pt x="5489" y="7"/>
                    <a:pt x="5496" y="0"/>
                    <a:pt x="5505" y="0"/>
                  </a:cubicBezTo>
                  <a:close/>
                  <a:moveTo>
                    <a:pt x="5889" y="0"/>
                  </a:moveTo>
                  <a:lnTo>
                    <a:pt x="6113" y="0"/>
                  </a:lnTo>
                  <a:cubicBezTo>
                    <a:pt x="6122" y="0"/>
                    <a:pt x="6129" y="7"/>
                    <a:pt x="6129" y="16"/>
                  </a:cubicBezTo>
                  <a:cubicBezTo>
                    <a:pt x="6129" y="25"/>
                    <a:pt x="6122" y="32"/>
                    <a:pt x="6113" y="32"/>
                  </a:cubicBezTo>
                  <a:lnTo>
                    <a:pt x="5889" y="32"/>
                  </a:lnTo>
                  <a:cubicBezTo>
                    <a:pt x="5880" y="32"/>
                    <a:pt x="5873" y="25"/>
                    <a:pt x="5873" y="16"/>
                  </a:cubicBezTo>
                  <a:cubicBezTo>
                    <a:pt x="5873" y="7"/>
                    <a:pt x="5880" y="0"/>
                    <a:pt x="5889" y="0"/>
                  </a:cubicBezTo>
                  <a:close/>
                  <a:moveTo>
                    <a:pt x="6273" y="0"/>
                  </a:moveTo>
                  <a:lnTo>
                    <a:pt x="6497" y="0"/>
                  </a:lnTo>
                  <a:cubicBezTo>
                    <a:pt x="6506" y="0"/>
                    <a:pt x="6513" y="7"/>
                    <a:pt x="6513" y="16"/>
                  </a:cubicBezTo>
                  <a:cubicBezTo>
                    <a:pt x="6513" y="25"/>
                    <a:pt x="6506" y="32"/>
                    <a:pt x="6497" y="32"/>
                  </a:cubicBezTo>
                  <a:lnTo>
                    <a:pt x="6273" y="32"/>
                  </a:lnTo>
                  <a:cubicBezTo>
                    <a:pt x="6264" y="32"/>
                    <a:pt x="6257" y="25"/>
                    <a:pt x="6257" y="16"/>
                  </a:cubicBezTo>
                  <a:cubicBezTo>
                    <a:pt x="6257" y="7"/>
                    <a:pt x="6264" y="0"/>
                    <a:pt x="6273" y="0"/>
                  </a:cubicBezTo>
                  <a:close/>
                  <a:moveTo>
                    <a:pt x="6657" y="0"/>
                  </a:moveTo>
                  <a:lnTo>
                    <a:pt x="6881" y="0"/>
                  </a:lnTo>
                  <a:cubicBezTo>
                    <a:pt x="6890" y="0"/>
                    <a:pt x="6897" y="7"/>
                    <a:pt x="6897" y="16"/>
                  </a:cubicBezTo>
                  <a:cubicBezTo>
                    <a:pt x="6897" y="25"/>
                    <a:pt x="6890" y="32"/>
                    <a:pt x="6881" y="32"/>
                  </a:cubicBezTo>
                  <a:lnTo>
                    <a:pt x="6657" y="32"/>
                  </a:lnTo>
                  <a:cubicBezTo>
                    <a:pt x="6648" y="32"/>
                    <a:pt x="6641" y="25"/>
                    <a:pt x="6641" y="16"/>
                  </a:cubicBezTo>
                  <a:cubicBezTo>
                    <a:pt x="6641" y="7"/>
                    <a:pt x="6648" y="0"/>
                    <a:pt x="6657" y="0"/>
                  </a:cubicBezTo>
                  <a:close/>
                  <a:moveTo>
                    <a:pt x="7041" y="0"/>
                  </a:moveTo>
                  <a:lnTo>
                    <a:pt x="7265" y="0"/>
                  </a:lnTo>
                  <a:cubicBezTo>
                    <a:pt x="7274" y="0"/>
                    <a:pt x="7281" y="7"/>
                    <a:pt x="7281" y="16"/>
                  </a:cubicBezTo>
                  <a:cubicBezTo>
                    <a:pt x="7281" y="25"/>
                    <a:pt x="7274" y="32"/>
                    <a:pt x="7265" y="32"/>
                  </a:cubicBezTo>
                  <a:lnTo>
                    <a:pt x="7041" y="32"/>
                  </a:lnTo>
                  <a:cubicBezTo>
                    <a:pt x="7032" y="32"/>
                    <a:pt x="7025" y="25"/>
                    <a:pt x="7025" y="16"/>
                  </a:cubicBezTo>
                  <a:cubicBezTo>
                    <a:pt x="7025" y="7"/>
                    <a:pt x="7032" y="0"/>
                    <a:pt x="7041" y="0"/>
                  </a:cubicBezTo>
                  <a:close/>
                  <a:moveTo>
                    <a:pt x="7425" y="0"/>
                  </a:moveTo>
                  <a:lnTo>
                    <a:pt x="7649" y="0"/>
                  </a:lnTo>
                  <a:cubicBezTo>
                    <a:pt x="7658" y="0"/>
                    <a:pt x="7665" y="7"/>
                    <a:pt x="7665" y="16"/>
                  </a:cubicBezTo>
                  <a:cubicBezTo>
                    <a:pt x="7665" y="25"/>
                    <a:pt x="7658" y="32"/>
                    <a:pt x="7649" y="32"/>
                  </a:cubicBezTo>
                  <a:lnTo>
                    <a:pt x="7425" y="32"/>
                  </a:lnTo>
                  <a:cubicBezTo>
                    <a:pt x="7416" y="32"/>
                    <a:pt x="7409" y="25"/>
                    <a:pt x="7409" y="16"/>
                  </a:cubicBezTo>
                  <a:cubicBezTo>
                    <a:pt x="7409" y="7"/>
                    <a:pt x="7416" y="0"/>
                    <a:pt x="7425" y="0"/>
                  </a:cubicBezTo>
                  <a:close/>
                  <a:moveTo>
                    <a:pt x="7809" y="0"/>
                  </a:moveTo>
                  <a:lnTo>
                    <a:pt x="8033" y="0"/>
                  </a:lnTo>
                  <a:cubicBezTo>
                    <a:pt x="8042" y="0"/>
                    <a:pt x="8049" y="7"/>
                    <a:pt x="8049" y="16"/>
                  </a:cubicBezTo>
                  <a:cubicBezTo>
                    <a:pt x="8049" y="25"/>
                    <a:pt x="8042" y="32"/>
                    <a:pt x="8033" y="32"/>
                  </a:cubicBezTo>
                  <a:lnTo>
                    <a:pt x="7809" y="32"/>
                  </a:lnTo>
                  <a:cubicBezTo>
                    <a:pt x="7800" y="32"/>
                    <a:pt x="7793" y="25"/>
                    <a:pt x="7793" y="16"/>
                  </a:cubicBezTo>
                  <a:cubicBezTo>
                    <a:pt x="7793" y="7"/>
                    <a:pt x="7800" y="0"/>
                    <a:pt x="7809" y="0"/>
                  </a:cubicBezTo>
                  <a:close/>
                  <a:moveTo>
                    <a:pt x="8193" y="0"/>
                  </a:moveTo>
                  <a:lnTo>
                    <a:pt x="8417" y="0"/>
                  </a:lnTo>
                  <a:cubicBezTo>
                    <a:pt x="8426" y="0"/>
                    <a:pt x="8433" y="7"/>
                    <a:pt x="8433" y="16"/>
                  </a:cubicBezTo>
                  <a:cubicBezTo>
                    <a:pt x="8433" y="25"/>
                    <a:pt x="8426" y="32"/>
                    <a:pt x="8417" y="32"/>
                  </a:cubicBezTo>
                  <a:lnTo>
                    <a:pt x="8193" y="32"/>
                  </a:lnTo>
                  <a:cubicBezTo>
                    <a:pt x="8184" y="32"/>
                    <a:pt x="8177" y="25"/>
                    <a:pt x="8177" y="16"/>
                  </a:cubicBezTo>
                  <a:cubicBezTo>
                    <a:pt x="8177" y="7"/>
                    <a:pt x="8184" y="0"/>
                    <a:pt x="8193" y="0"/>
                  </a:cubicBezTo>
                  <a:close/>
                  <a:moveTo>
                    <a:pt x="8577" y="0"/>
                  </a:moveTo>
                  <a:lnTo>
                    <a:pt x="8801" y="0"/>
                  </a:lnTo>
                  <a:cubicBezTo>
                    <a:pt x="8810" y="0"/>
                    <a:pt x="8817" y="7"/>
                    <a:pt x="8817" y="16"/>
                  </a:cubicBezTo>
                  <a:cubicBezTo>
                    <a:pt x="8817" y="25"/>
                    <a:pt x="8810" y="32"/>
                    <a:pt x="8801" y="32"/>
                  </a:cubicBezTo>
                  <a:lnTo>
                    <a:pt x="8577" y="32"/>
                  </a:lnTo>
                  <a:cubicBezTo>
                    <a:pt x="8568" y="32"/>
                    <a:pt x="8561" y="25"/>
                    <a:pt x="8561" y="16"/>
                  </a:cubicBezTo>
                  <a:cubicBezTo>
                    <a:pt x="8561" y="7"/>
                    <a:pt x="8568" y="0"/>
                    <a:pt x="8577" y="0"/>
                  </a:cubicBezTo>
                  <a:close/>
                  <a:moveTo>
                    <a:pt x="8961" y="0"/>
                  </a:moveTo>
                  <a:lnTo>
                    <a:pt x="9040" y="0"/>
                  </a:lnTo>
                  <a:cubicBezTo>
                    <a:pt x="9049" y="0"/>
                    <a:pt x="9056" y="7"/>
                    <a:pt x="9056" y="16"/>
                  </a:cubicBezTo>
                  <a:cubicBezTo>
                    <a:pt x="9056" y="25"/>
                    <a:pt x="9049" y="32"/>
                    <a:pt x="9040" y="32"/>
                  </a:cubicBezTo>
                  <a:lnTo>
                    <a:pt x="8961" y="32"/>
                  </a:lnTo>
                  <a:cubicBezTo>
                    <a:pt x="8952" y="32"/>
                    <a:pt x="8945" y="25"/>
                    <a:pt x="8945" y="16"/>
                  </a:cubicBezTo>
                  <a:cubicBezTo>
                    <a:pt x="8945" y="7"/>
                    <a:pt x="8952" y="0"/>
                    <a:pt x="8961" y="0"/>
                  </a:cubicBezTo>
                  <a:close/>
                </a:path>
              </a:pathLst>
            </a:custGeom>
            <a:solidFill>
              <a:srgbClr val="000000"/>
            </a:solidFill>
            <a:ln w="1588"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0">
              <a:extLst>
                <a:ext uri="{FF2B5EF4-FFF2-40B4-BE49-F238E27FC236}">
                  <a16:creationId xmlns:a16="http://schemas.microsoft.com/office/drawing/2014/main" id="{9DA0FB1E-E6B8-4388-A5C3-4DBC9A197EF2}"/>
                </a:ext>
              </a:extLst>
            </p:cNvPr>
            <p:cNvSpPr>
              <a:spLocks/>
            </p:cNvSpPr>
            <p:nvPr/>
          </p:nvSpPr>
          <p:spPr bwMode="auto">
            <a:xfrm>
              <a:off x="9232900" y="1958976"/>
              <a:ext cx="123825" cy="125413"/>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Oval 23">
              <a:extLst>
                <a:ext uri="{FF2B5EF4-FFF2-40B4-BE49-F238E27FC236}">
                  <a16:creationId xmlns:a16="http://schemas.microsoft.com/office/drawing/2014/main" id="{46C3306B-F6AE-44AF-91A2-2FE75E143EB4}"/>
                </a:ext>
              </a:extLst>
            </p:cNvPr>
            <p:cNvSpPr>
              <a:spLocks noChangeArrowheads="1"/>
            </p:cNvSpPr>
            <p:nvPr/>
          </p:nvSpPr>
          <p:spPr bwMode="auto">
            <a:xfrm>
              <a:off x="4791075" y="1677988"/>
              <a:ext cx="396875" cy="379413"/>
            </a:xfrm>
            <a:prstGeom prst="ellipse">
              <a:avLst/>
            </a:prstGeom>
            <a:solidFill>
              <a:srgbClr val="20586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Oval 24">
              <a:extLst>
                <a:ext uri="{FF2B5EF4-FFF2-40B4-BE49-F238E27FC236}">
                  <a16:creationId xmlns:a16="http://schemas.microsoft.com/office/drawing/2014/main" id="{25FF1819-F8A6-477A-82F0-8AC760BB0333}"/>
                </a:ext>
              </a:extLst>
            </p:cNvPr>
            <p:cNvSpPr>
              <a:spLocks noChangeArrowheads="1"/>
            </p:cNvSpPr>
            <p:nvPr/>
          </p:nvSpPr>
          <p:spPr bwMode="auto">
            <a:xfrm>
              <a:off x="4791075" y="1677988"/>
              <a:ext cx="396875" cy="379413"/>
            </a:xfrm>
            <a:prstGeom prst="ellipse">
              <a:avLst/>
            </a:prstGeom>
            <a:noFill/>
            <a:ln w="142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Rectangle 25">
              <a:extLst>
                <a:ext uri="{FF2B5EF4-FFF2-40B4-BE49-F238E27FC236}">
                  <a16:creationId xmlns:a16="http://schemas.microsoft.com/office/drawing/2014/main" id="{7C3FE1CD-ABA8-4B7A-9F96-CB518A640C55}"/>
                </a:ext>
              </a:extLst>
            </p:cNvPr>
            <p:cNvSpPr>
              <a:spLocks noChangeArrowheads="1"/>
            </p:cNvSpPr>
            <p:nvPr/>
          </p:nvSpPr>
          <p:spPr bwMode="auto">
            <a:xfrm>
              <a:off x="4905375" y="1643063"/>
              <a:ext cx="371475" cy="53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700" b="1" i="0" u="none" strike="noStrike" cap="none" normalizeH="0" baseline="0">
                  <a:ln>
                    <a:noFill/>
                  </a:ln>
                  <a:solidFill>
                    <a:srgbClr val="FFFFFF"/>
                  </a:solidFill>
                  <a:effectLst/>
                  <a:latin typeface="Calibri" panose="020F050202020403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4" name="Rectangle 40">
              <a:extLst>
                <a:ext uri="{FF2B5EF4-FFF2-40B4-BE49-F238E27FC236}">
                  <a16:creationId xmlns:a16="http://schemas.microsoft.com/office/drawing/2014/main" id="{AC15F2C0-FE82-4749-AFEC-D230DF36356D}"/>
                </a:ext>
              </a:extLst>
            </p:cNvPr>
            <p:cNvSpPr>
              <a:spLocks noChangeArrowheads="1"/>
            </p:cNvSpPr>
            <p:nvPr/>
          </p:nvSpPr>
          <p:spPr bwMode="auto">
            <a:xfrm>
              <a:off x="6315075" y="1817688"/>
              <a:ext cx="2273300"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a:ln>
                    <a:noFill/>
                  </a:ln>
                  <a:solidFill>
                    <a:srgbClr val="000000"/>
                  </a:solidFill>
                  <a:effectLst/>
                  <a:latin typeface="Segoe UI" panose="020B0502040204020203" pitchFamily="34" charset="0"/>
                </a:rPr>
                <a:t>publishes retention labels to user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5" name="Rectangle 41">
              <a:extLst>
                <a:ext uri="{FF2B5EF4-FFF2-40B4-BE49-F238E27FC236}">
                  <a16:creationId xmlns:a16="http://schemas.microsoft.com/office/drawing/2014/main" id="{C98728FD-B18A-43E9-A6BA-FA949CAF4DFE}"/>
                </a:ext>
              </a:extLst>
            </p:cNvPr>
            <p:cNvSpPr>
              <a:spLocks noChangeArrowheads="1"/>
            </p:cNvSpPr>
            <p:nvPr/>
          </p:nvSpPr>
          <p:spPr bwMode="auto">
            <a:xfrm>
              <a:off x="6786563" y="2000251"/>
              <a:ext cx="1336675"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a:ln>
                    <a:noFill/>
                  </a:ln>
                  <a:solidFill>
                    <a:srgbClr val="000000"/>
                  </a:solidFill>
                  <a:effectLst/>
                  <a:latin typeface="Segoe UI" panose="020B0502040204020203" pitchFamily="34" charset="0"/>
                </a:rPr>
                <a:t>in a set of loca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72" name="Group 71">
            <a:extLst>
              <a:ext uri="{FF2B5EF4-FFF2-40B4-BE49-F238E27FC236}">
                <a16:creationId xmlns:a16="http://schemas.microsoft.com/office/drawing/2014/main" id="{D037E41B-EEBF-466D-9C2B-526064572D3B}"/>
              </a:ext>
            </a:extLst>
          </p:cNvPr>
          <p:cNvGrpSpPr/>
          <p:nvPr/>
        </p:nvGrpSpPr>
        <p:grpSpPr>
          <a:xfrm>
            <a:off x="10009188" y="2352676"/>
            <a:ext cx="1046162" cy="1431925"/>
            <a:chOff x="10009188" y="2352676"/>
            <a:chExt cx="1046162" cy="1431925"/>
          </a:xfrm>
        </p:grpSpPr>
        <p:sp>
          <p:nvSpPr>
            <p:cNvPr id="73" name="Rectangle 36">
              <a:extLst>
                <a:ext uri="{FF2B5EF4-FFF2-40B4-BE49-F238E27FC236}">
                  <a16:creationId xmlns:a16="http://schemas.microsoft.com/office/drawing/2014/main" id="{8C0F6AB1-F280-4631-B1E6-7DE000C01293}"/>
                </a:ext>
              </a:extLst>
            </p:cNvPr>
            <p:cNvSpPr>
              <a:spLocks noChangeArrowheads="1"/>
            </p:cNvSpPr>
            <p:nvPr/>
          </p:nvSpPr>
          <p:spPr bwMode="auto">
            <a:xfrm>
              <a:off x="10287000" y="2651126"/>
              <a:ext cx="692150"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a:ln>
                    <a:noFill/>
                  </a:ln>
                  <a:solidFill>
                    <a:srgbClr val="000000"/>
                  </a:solidFill>
                  <a:effectLst/>
                  <a:latin typeface="Segoe UI" panose="020B0502040204020203" pitchFamily="34" charset="0"/>
                </a:rPr>
                <a:t>manuall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4" name="Rectangle 37">
              <a:extLst>
                <a:ext uri="{FF2B5EF4-FFF2-40B4-BE49-F238E27FC236}">
                  <a16:creationId xmlns:a16="http://schemas.microsoft.com/office/drawing/2014/main" id="{50B9274E-26BF-4EAD-A17C-1053BA480E7B}"/>
                </a:ext>
              </a:extLst>
            </p:cNvPr>
            <p:cNvSpPr>
              <a:spLocks noChangeArrowheads="1"/>
            </p:cNvSpPr>
            <p:nvPr/>
          </p:nvSpPr>
          <p:spPr bwMode="auto">
            <a:xfrm>
              <a:off x="10204450" y="2835276"/>
              <a:ext cx="850900"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a:ln>
                    <a:noFill/>
                  </a:ln>
                  <a:solidFill>
                    <a:srgbClr val="000000"/>
                  </a:solidFill>
                  <a:effectLst/>
                  <a:latin typeface="Segoe UI" panose="020B0502040204020203" pitchFamily="34" charset="0"/>
                </a:rPr>
                <a:t>apply label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5" name="Freeform 38">
              <a:extLst>
                <a:ext uri="{FF2B5EF4-FFF2-40B4-BE49-F238E27FC236}">
                  <a16:creationId xmlns:a16="http://schemas.microsoft.com/office/drawing/2014/main" id="{6FADEAFA-A526-43CD-8CA6-8ABB449C7993}"/>
                </a:ext>
              </a:extLst>
            </p:cNvPr>
            <p:cNvSpPr>
              <a:spLocks noEditPoints="1"/>
            </p:cNvSpPr>
            <p:nvPr/>
          </p:nvSpPr>
          <p:spPr bwMode="auto">
            <a:xfrm>
              <a:off x="10063163" y="2352676"/>
              <a:ext cx="23813" cy="1317625"/>
            </a:xfrm>
            <a:custGeom>
              <a:avLst/>
              <a:gdLst>
                <a:gd name="T0" fmla="*/ 51 w 51"/>
                <a:gd name="T1" fmla="*/ 16 h 2944"/>
                <a:gd name="T2" fmla="*/ 50 w 51"/>
                <a:gd name="T3" fmla="*/ 240 h 2944"/>
                <a:gd name="T4" fmla="*/ 34 w 51"/>
                <a:gd name="T5" fmla="*/ 256 h 2944"/>
                <a:gd name="T6" fmla="*/ 18 w 51"/>
                <a:gd name="T7" fmla="*/ 240 h 2944"/>
                <a:gd name="T8" fmla="*/ 19 w 51"/>
                <a:gd name="T9" fmla="*/ 16 h 2944"/>
                <a:gd name="T10" fmla="*/ 35 w 51"/>
                <a:gd name="T11" fmla="*/ 0 h 2944"/>
                <a:gd name="T12" fmla="*/ 51 w 51"/>
                <a:gd name="T13" fmla="*/ 16 h 2944"/>
                <a:gd name="T14" fmla="*/ 49 w 51"/>
                <a:gd name="T15" fmla="*/ 400 h 2944"/>
                <a:gd name="T16" fmla="*/ 47 w 51"/>
                <a:gd name="T17" fmla="*/ 624 h 2944"/>
                <a:gd name="T18" fmla="*/ 31 w 51"/>
                <a:gd name="T19" fmla="*/ 640 h 2944"/>
                <a:gd name="T20" fmla="*/ 15 w 51"/>
                <a:gd name="T21" fmla="*/ 624 h 2944"/>
                <a:gd name="T22" fmla="*/ 17 w 51"/>
                <a:gd name="T23" fmla="*/ 400 h 2944"/>
                <a:gd name="T24" fmla="*/ 33 w 51"/>
                <a:gd name="T25" fmla="*/ 384 h 2944"/>
                <a:gd name="T26" fmla="*/ 49 w 51"/>
                <a:gd name="T27" fmla="*/ 400 h 2944"/>
                <a:gd name="T28" fmla="*/ 46 w 51"/>
                <a:gd name="T29" fmla="*/ 784 h 2944"/>
                <a:gd name="T30" fmla="*/ 45 w 51"/>
                <a:gd name="T31" fmla="*/ 1008 h 2944"/>
                <a:gd name="T32" fmla="*/ 28 w 51"/>
                <a:gd name="T33" fmla="*/ 1024 h 2944"/>
                <a:gd name="T34" fmla="*/ 13 w 51"/>
                <a:gd name="T35" fmla="*/ 1008 h 2944"/>
                <a:gd name="T36" fmla="*/ 14 w 51"/>
                <a:gd name="T37" fmla="*/ 784 h 2944"/>
                <a:gd name="T38" fmla="*/ 30 w 51"/>
                <a:gd name="T39" fmla="*/ 768 h 2944"/>
                <a:gd name="T40" fmla="*/ 46 w 51"/>
                <a:gd name="T41" fmla="*/ 784 h 2944"/>
                <a:gd name="T42" fmla="*/ 43 w 51"/>
                <a:gd name="T43" fmla="*/ 1168 h 2944"/>
                <a:gd name="T44" fmla="*/ 42 w 51"/>
                <a:gd name="T45" fmla="*/ 1392 h 2944"/>
                <a:gd name="T46" fmla="*/ 26 w 51"/>
                <a:gd name="T47" fmla="*/ 1408 h 2944"/>
                <a:gd name="T48" fmla="*/ 10 w 51"/>
                <a:gd name="T49" fmla="*/ 1392 h 2944"/>
                <a:gd name="T50" fmla="*/ 11 w 51"/>
                <a:gd name="T51" fmla="*/ 1168 h 2944"/>
                <a:gd name="T52" fmla="*/ 28 w 51"/>
                <a:gd name="T53" fmla="*/ 1152 h 2944"/>
                <a:gd name="T54" fmla="*/ 43 w 51"/>
                <a:gd name="T55" fmla="*/ 1168 h 2944"/>
                <a:gd name="T56" fmla="*/ 41 w 51"/>
                <a:gd name="T57" fmla="*/ 1552 h 2944"/>
                <a:gd name="T58" fmla="*/ 39 w 51"/>
                <a:gd name="T59" fmla="*/ 1776 h 2944"/>
                <a:gd name="T60" fmla="*/ 23 w 51"/>
                <a:gd name="T61" fmla="*/ 1792 h 2944"/>
                <a:gd name="T62" fmla="*/ 7 w 51"/>
                <a:gd name="T63" fmla="*/ 1776 h 2944"/>
                <a:gd name="T64" fmla="*/ 9 w 51"/>
                <a:gd name="T65" fmla="*/ 1552 h 2944"/>
                <a:gd name="T66" fmla="*/ 25 w 51"/>
                <a:gd name="T67" fmla="*/ 1536 h 2944"/>
                <a:gd name="T68" fmla="*/ 41 w 51"/>
                <a:gd name="T69" fmla="*/ 1552 h 2944"/>
                <a:gd name="T70" fmla="*/ 38 w 51"/>
                <a:gd name="T71" fmla="*/ 1936 h 2944"/>
                <a:gd name="T72" fmla="*/ 37 w 51"/>
                <a:gd name="T73" fmla="*/ 2160 h 2944"/>
                <a:gd name="T74" fmla="*/ 21 w 51"/>
                <a:gd name="T75" fmla="*/ 2176 h 2944"/>
                <a:gd name="T76" fmla="*/ 5 w 51"/>
                <a:gd name="T77" fmla="*/ 2160 h 2944"/>
                <a:gd name="T78" fmla="*/ 6 w 51"/>
                <a:gd name="T79" fmla="*/ 1936 h 2944"/>
                <a:gd name="T80" fmla="*/ 22 w 51"/>
                <a:gd name="T81" fmla="*/ 1920 h 2944"/>
                <a:gd name="T82" fmla="*/ 38 w 51"/>
                <a:gd name="T83" fmla="*/ 1936 h 2944"/>
                <a:gd name="T84" fmla="*/ 36 w 51"/>
                <a:gd name="T85" fmla="*/ 2320 h 2944"/>
                <a:gd name="T86" fmla="*/ 34 w 51"/>
                <a:gd name="T87" fmla="*/ 2544 h 2944"/>
                <a:gd name="T88" fmla="*/ 18 w 51"/>
                <a:gd name="T89" fmla="*/ 2560 h 2944"/>
                <a:gd name="T90" fmla="*/ 2 w 51"/>
                <a:gd name="T91" fmla="*/ 2544 h 2944"/>
                <a:gd name="T92" fmla="*/ 4 w 51"/>
                <a:gd name="T93" fmla="*/ 2320 h 2944"/>
                <a:gd name="T94" fmla="*/ 20 w 51"/>
                <a:gd name="T95" fmla="*/ 2304 h 2944"/>
                <a:gd name="T96" fmla="*/ 36 w 51"/>
                <a:gd name="T97" fmla="*/ 2320 h 2944"/>
                <a:gd name="T98" fmla="*/ 33 w 51"/>
                <a:gd name="T99" fmla="*/ 2704 h 2944"/>
                <a:gd name="T100" fmla="*/ 32 w 51"/>
                <a:gd name="T101" fmla="*/ 2928 h 2944"/>
                <a:gd name="T102" fmla="*/ 16 w 51"/>
                <a:gd name="T103" fmla="*/ 2944 h 2944"/>
                <a:gd name="T104" fmla="*/ 0 w 51"/>
                <a:gd name="T105" fmla="*/ 2928 h 2944"/>
                <a:gd name="T106" fmla="*/ 1 w 51"/>
                <a:gd name="T107" fmla="*/ 2704 h 2944"/>
                <a:gd name="T108" fmla="*/ 17 w 51"/>
                <a:gd name="T109" fmla="*/ 2688 h 2944"/>
                <a:gd name="T110" fmla="*/ 33 w 51"/>
                <a:gd name="T111" fmla="*/ 2704 h 2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 h="2944">
                  <a:moveTo>
                    <a:pt x="51" y="16"/>
                  </a:moveTo>
                  <a:lnTo>
                    <a:pt x="50" y="240"/>
                  </a:lnTo>
                  <a:cubicBezTo>
                    <a:pt x="50" y="249"/>
                    <a:pt x="42" y="256"/>
                    <a:pt x="34" y="256"/>
                  </a:cubicBezTo>
                  <a:cubicBezTo>
                    <a:pt x="25" y="256"/>
                    <a:pt x="18" y="249"/>
                    <a:pt x="18" y="240"/>
                  </a:cubicBezTo>
                  <a:lnTo>
                    <a:pt x="19" y="16"/>
                  </a:lnTo>
                  <a:cubicBezTo>
                    <a:pt x="19" y="7"/>
                    <a:pt x="26" y="0"/>
                    <a:pt x="35" y="0"/>
                  </a:cubicBezTo>
                  <a:cubicBezTo>
                    <a:pt x="44" y="0"/>
                    <a:pt x="51" y="7"/>
                    <a:pt x="51" y="16"/>
                  </a:cubicBezTo>
                  <a:close/>
                  <a:moveTo>
                    <a:pt x="49" y="400"/>
                  </a:moveTo>
                  <a:lnTo>
                    <a:pt x="47" y="624"/>
                  </a:lnTo>
                  <a:cubicBezTo>
                    <a:pt x="47" y="633"/>
                    <a:pt x="40" y="640"/>
                    <a:pt x="31" y="640"/>
                  </a:cubicBezTo>
                  <a:cubicBezTo>
                    <a:pt x="22" y="640"/>
                    <a:pt x="15" y="633"/>
                    <a:pt x="15" y="624"/>
                  </a:cubicBezTo>
                  <a:lnTo>
                    <a:pt x="17" y="400"/>
                  </a:lnTo>
                  <a:cubicBezTo>
                    <a:pt x="17" y="391"/>
                    <a:pt x="24" y="384"/>
                    <a:pt x="33" y="384"/>
                  </a:cubicBezTo>
                  <a:cubicBezTo>
                    <a:pt x="42" y="384"/>
                    <a:pt x="49" y="391"/>
                    <a:pt x="49" y="400"/>
                  </a:cubicBezTo>
                  <a:close/>
                  <a:moveTo>
                    <a:pt x="46" y="784"/>
                  </a:moveTo>
                  <a:lnTo>
                    <a:pt x="45" y="1008"/>
                  </a:lnTo>
                  <a:cubicBezTo>
                    <a:pt x="44" y="1017"/>
                    <a:pt x="37" y="1024"/>
                    <a:pt x="28" y="1024"/>
                  </a:cubicBezTo>
                  <a:cubicBezTo>
                    <a:pt x="20" y="1024"/>
                    <a:pt x="12" y="1017"/>
                    <a:pt x="13" y="1008"/>
                  </a:cubicBezTo>
                  <a:lnTo>
                    <a:pt x="14" y="784"/>
                  </a:lnTo>
                  <a:cubicBezTo>
                    <a:pt x="14" y="775"/>
                    <a:pt x="21" y="768"/>
                    <a:pt x="30" y="768"/>
                  </a:cubicBezTo>
                  <a:cubicBezTo>
                    <a:pt x="39" y="768"/>
                    <a:pt x="46" y="775"/>
                    <a:pt x="46" y="784"/>
                  </a:cubicBezTo>
                  <a:close/>
                  <a:moveTo>
                    <a:pt x="43" y="1168"/>
                  </a:moveTo>
                  <a:lnTo>
                    <a:pt x="42" y="1392"/>
                  </a:lnTo>
                  <a:cubicBezTo>
                    <a:pt x="42" y="1401"/>
                    <a:pt x="35" y="1408"/>
                    <a:pt x="26" y="1408"/>
                  </a:cubicBezTo>
                  <a:cubicBezTo>
                    <a:pt x="17" y="1408"/>
                    <a:pt x="10" y="1401"/>
                    <a:pt x="10" y="1392"/>
                  </a:cubicBezTo>
                  <a:lnTo>
                    <a:pt x="11" y="1168"/>
                  </a:lnTo>
                  <a:cubicBezTo>
                    <a:pt x="12" y="1159"/>
                    <a:pt x="19" y="1152"/>
                    <a:pt x="28" y="1152"/>
                  </a:cubicBezTo>
                  <a:cubicBezTo>
                    <a:pt x="36" y="1152"/>
                    <a:pt x="44" y="1159"/>
                    <a:pt x="43" y="1168"/>
                  </a:cubicBezTo>
                  <a:close/>
                  <a:moveTo>
                    <a:pt x="41" y="1552"/>
                  </a:moveTo>
                  <a:lnTo>
                    <a:pt x="39" y="1776"/>
                  </a:lnTo>
                  <a:cubicBezTo>
                    <a:pt x="39" y="1785"/>
                    <a:pt x="32" y="1792"/>
                    <a:pt x="23" y="1792"/>
                  </a:cubicBezTo>
                  <a:cubicBezTo>
                    <a:pt x="14" y="1792"/>
                    <a:pt x="7" y="1785"/>
                    <a:pt x="7" y="1776"/>
                  </a:cubicBezTo>
                  <a:lnTo>
                    <a:pt x="9" y="1552"/>
                  </a:lnTo>
                  <a:cubicBezTo>
                    <a:pt x="9" y="1543"/>
                    <a:pt x="16" y="1536"/>
                    <a:pt x="25" y="1536"/>
                  </a:cubicBezTo>
                  <a:cubicBezTo>
                    <a:pt x="34" y="1536"/>
                    <a:pt x="41" y="1543"/>
                    <a:pt x="41" y="1552"/>
                  </a:cubicBezTo>
                  <a:close/>
                  <a:moveTo>
                    <a:pt x="38" y="1936"/>
                  </a:moveTo>
                  <a:lnTo>
                    <a:pt x="37" y="2160"/>
                  </a:lnTo>
                  <a:cubicBezTo>
                    <a:pt x="37" y="2169"/>
                    <a:pt x="30" y="2176"/>
                    <a:pt x="21" y="2176"/>
                  </a:cubicBezTo>
                  <a:cubicBezTo>
                    <a:pt x="12" y="2176"/>
                    <a:pt x="5" y="2169"/>
                    <a:pt x="5" y="2160"/>
                  </a:cubicBezTo>
                  <a:lnTo>
                    <a:pt x="6" y="1936"/>
                  </a:lnTo>
                  <a:cubicBezTo>
                    <a:pt x="6" y="1927"/>
                    <a:pt x="14" y="1920"/>
                    <a:pt x="22" y="1920"/>
                  </a:cubicBezTo>
                  <a:cubicBezTo>
                    <a:pt x="31" y="1920"/>
                    <a:pt x="38" y="1927"/>
                    <a:pt x="38" y="1936"/>
                  </a:cubicBezTo>
                  <a:close/>
                  <a:moveTo>
                    <a:pt x="36" y="2320"/>
                  </a:moveTo>
                  <a:lnTo>
                    <a:pt x="34" y="2544"/>
                  </a:lnTo>
                  <a:cubicBezTo>
                    <a:pt x="34" y="2553"/>
                    <a:pt x="27" y="2560"/>
                    <a:pt x="18" y="2560"/>
                  </a:cubicBezTo>
                  <a:cubicBezTo>
                    <a:pt x="9" y="2560"/>
                    <a:pt x="2" y="2553"/>
                    <a:pt x="2" y="2544"/>
                  </a:cubicBezTo>
                  <a:lnTo>
                    <a:pt x="4" y="2320"/>
                  </a:lnTo>
                  <a:cubicBezTo>
                    <a:pt x="4" y="2311"/>
                    <a:pt x="11" y="2304"/>
                    <a:pt x="20" y="2304"/>
                  </a:cubicBezTo>
                  <a:cubicBezTo>
                    <a:pt x="29" y="2304"/>
                    <a:pt x="36" y="2311"/>
                    <a:pt x="36" y="2320"/>
                  </a:cubicBezTo>
                  <a:close/>
                  <a:moveTo>
                    <a:pt x="33" y="2704"/>
                  </a:moveTo>
                  <a:lnTo>
                    <a:pt x="32" y="2928"/>
                  </a:lnTo>
                  <a:cubicBezTo>
                    <a:pt x="32" y="2937"/>
                    <a:pt x="24" y="2944"/>
                    <a:pt x="16" y="2944"/>
                  </a:cubicBezTo>
                  <a:cubicBezTo>
                    <a:pt x="7" y="2944"/>
                    <a:pt x="0" y="2937"/>
                    <a:pt x="0" y="2928"/>
                  </a:cubicBezTo>
                  <a:lnTo>
                    <a:pt x="1" y="2704"/>
                  </a:lnTo>
                  <a:cubicBezTo>
                    <a:pt x="1" y="2695"/>
                    <a:pt x="8" y="2688"/>
                    <a:pt x="17" y="2688"/>
                  </a:cubicBezTo>
                  <a:cubicBezTo>
                    <a:pt x="26" y="2688"/>
                    <a:pt x="33" y="2695"/>
                    <a:pt x="33" y="2704"/>
                  </a:cubicBezTo>
                  <a:close/>
                </a:path>
              </a:pathLst>
            </a:custGeom>
            <a:solidFill>
              <a:srgbClr val="000000"/>
            </a:solidFill>
            <a:ln w="1588"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39">
              <a:extLst>
                <a:ext uri="{FF2B5EF4-FFF2-40B4-BE49-F238E27FC236}">
                  <a16:creationId xmlns:a16="http://schemas.microsoft.com/office/drawing/2014/main" id="{9B9BEEA0-FE19-4B14-94D7-D4651EDE6035}"/>
                </a:ext>
              </a:extLst>
            </p:cNvPr>
            <p:cNvSpPr>
              <a:spLocks/>
            </p:cNvSpPr>
            <p:nvPr/>
          </p:nvSpPr>
          <p:spPr bwMode="auto">
            <a:xfrm>
              <a:off x="10009188" y="3659188"/>
              <a:ext cx="123825" cy="125413"/>
            </a:xfrm>
            <a:custGeom>
              <a:avLst/>
              <a:gdLst>
                <a:gd name="T0" fmla="*/ 138 w 279"/>
                <a:gd name="T1" fmla="*/ 280 h 280"/>
                <a:gd name="T2" fmla="*/ 0 w 279"/>
                <a:gd name="T3" fmla="*/ 0 h 280"/>
                <a:gd name="T4" fmla="*/ 279 w 279"/>
                <a:gd name="T5" fmla="*/ 2 h 280"/>
                <a:gd name="T6" fmla="*/ 138 w 279"/>
                <a:gd name="T7" fmla="*/ 280 h 280"/>
              </a:gdLst>
              <a:ahLst/>
              <a:cxnLst>
                <a:cxn ang="0">
                  <a:pos x="T0" y="T1"/>
                </a:cxn>
                <a:cxn ang="0">
                  <a:pos x="T2" y="T3"/>
                </a:cxn>
                <a:cxn ang="0">
                  <a:pos x="T4" y="T5"/>
                </a:cxn>
                <a:cxn ang="0">
                  <a:pos x="T6" y="T7"/>
                </a:cxn>
              </a:cxnLst>
              <a:rect l="0" t="0" r="r" b="b"/>
              <a:pathLst>
                <a:path w="279" h="280">
                  <a:moveTo>
                    <a:pt x="138" y="280"/>
                  </a:moveTo>
                  <a:lnTo>
                    <a:pt x="0" y="0"/>
                  </a:lnTo>
                  <a:cubicBezTo>
                    <a:pt x="88" y="44"/>
                    <a:pt x="191" y="45"/>
                    <a:pt x="279" y="2"/>
                  </a:cubicBezTo>
                  <a:lnTo>
                    <a:pt x="138" y="28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7" name="Group 76">
            <a:extLst>
              <a:ext uri="{FF2B5EF4-FFF2-40B4-BE49-F238E27FC236}">
                <a16:creationId xmlns:a16="http://schemas.microsoft.com/office/drawing/2014/main" id="{126347BA-60D5-467A-84D7-02906CF339CC}"/>
              </a:ext>
            </a:extLst>
          </p:cNvPr>
          <p:cNvGrpSpPr/>
          <p:nvPr/>
        </p:nvGrpSpPr>
        <p:grpSpPr>
          <a:xfrm>
            <a:off x="4705350" y="3711576"/>
            <a:ext cx="5129213" cy="1530350"/>
            <a:chOff x="4705350" y="3711576"/>
            <a:chExt cx="5129213" cy="1530350"/>
          </a:xfrm>
        </p:grpSpPr>
        <p:sp>
          <p:nvSpPr>
            <p:cNvPr id="78" name="Oval 26">
              <a:extLst>
                <a:ext uri="{FF2B5EF4-FFF2-40B4-BE49-F238E27FC236}">
                  <a16:creationId xmlns:a16="http://schemas.microsoft.com/office/drawing/2014/main" id="{B0A39955-BD3A-44B3-AB3A-A5BA3FED2B1B}"/>
                </a:ext>
              </a:extLst>
            </p:cNvPr>
            <p:cNvSpPr>
              <a:spLocks noChangeArrowheads="1"/>
            </p:cNvSpPr>
            <p:nvPr/>
          </p:nvSpPr>
          <p:spPr bwMode="auto">
            <a:xfrm>
              <a:off x="4705350" y="4745038"/>
              <a:ext cx="396875" cy="379413"/>
            </a:xfrm>
            <a:prstGeom prst="ellipse">
              <a:avLst/>
            </a:prstGeom>
            <a:solidFill>
              <a:srgbClr val="20586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Oval 27">
              <a:extLst>
                <a:ext uri="{FF2B5EF4-FFF2-40B4-BE49-F238E27FC236}">
                  <a16:creationId xmlns:a16="http://schemas.microsoft.com/office/drawing/2014/main" id="{C4BD801A-6AF6-44A3-8AD6-78B563746F54}"/>
                </a:ext>
              </a:extLst>
            </p:cNvPr>
            <p:cNvSpPr>
              <a:spLocks noChangeArrowheads="1"/>
            </p:cNvSpPr>
            <p:nvPr/>
          </p:nvSpPr>
          <p:spPr bwMode="auto">
            <a:xfrm>
              <a:off x="4705350" y="4745038"/>
              <a:ext cx="396875" cy="379413"/>
            </a:xfrm>
            <a:prstGeom prst="ellipse">
              <a:avLst/>
            </a:prstGeom>
            <a:noFill/>
            <a:ln w="142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 name="Rectangle 28">
              <a:extLst>
                <a:ext uri="{FF2B5EF4-FFF2-40B4-BE49-F238E27FC236}">
                  <a16:creationId xmlns:a16="http://schemas.microsoft.com/office/drawing/2014/main" id="{B84EBF10-0943-42BF-B5F0-D32331ECF4F7}"/>
                </a:ext>
              </a:extLst>
            </p:cNvPr>
            <p:cNvSpPr>
              <a:spLocks noChangeArrowheads="1"/>
            </p:cNvSpPr>
            <p:nvPr/>
          </p:nvSpPr>
          <p:spPr bwMode="auto">
            <a:xfrm>
              <a:off x="4819650" y="4711701"/>
              <a:ext cx="371475" cy="53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700" b="1" i="0" u="none" strike="noStrike" cap="none" normalizeH="0" baseline="0">
                  <a:ln>
                    <a:noFill/>
                  </a:ln>
                  <a:solidFill>
                    <a:srgbClr val="FFFFFF"/>
                  </a:solidFill>
                  <a:effectLst/>
                  <a:latin typeface="Calibri" panose="020F0502020204030204" pitchFamily="34" charset="0"/>
                </a:rPr>
                <a:t>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1" name="Freeform 32">
              <a:extLst>
                <a:ext uri="{FF2B5EF4-FFF2-40B4-BE49-F238E27FC236}">
                  <a16:creationId xmlns:a16="http://schemas.microsoft.com/office/drawing/2014/main" id="{9FD27066-3F68-4924-A792-E8B661C43D30}"/>
                </a:ext>
              </a:extLst>
            </p:cNvPr>
            <p:cNvSpPr>
              <a:spLocks noEditPoints="1"/>
            </p:cNvSpPr>
            <p:nvPr/>
          </p:nvSpPr>
          <p:spPr bwMode="auto">
            <a:xfrm>
              <a:off x="5224463" y="3711576"/>
              <a:ext cx="4522788" cy="1169988"/>
            </a:xfrm>
            <a:custGeom>
              <a:avLst/>
              <a:gdLst>
                <a:gd name="T0" fmla="*/ 0 w 10122"/>
                <a:gd name="T1" fmla="*/ 240 h 2615"/>
                <a:gd name="T2" fmla="*/ 32 w 10122"/>
                <a:gd name="T3" fmla="*/ 400 h 2615"/>
                <a:gd name="T4" fmla="*/ 0 w 10122"/>
                <a:gd name="T5" fmla="*/ 400 h 2615"/>
                <a:gd name="T6" fmla="*/ 32 w 10122"/>
                <a:gd name="T7" fmla="*/ 1008 h 2615"/>
                <a:gd name="T8" fmla="*/ 16 w 10122"/>
                <a:gd name="T9" fmla="*/ 768 h 2615"/>
                <a:gd name="T10" fmla="*/ 16 w 10122"/>
                <a:gd name="T11" fmla="*/ 1408 h 2615"/>
                <a:gd name="T12" fmla="*/ 32 w 10122"/>
                <a:gd name="T13" fmla="*/ 1168 h 2615"/>
                <a:gd name="T14" fmla="*/ 0 w 10122"/>
                <a:gd name="T15" fmla="*/ 1776 h 2615"/>
                <a:gd name="T16" fmla="*/ 32 w 10122"/>
                <a:gd name="T17" fmla="*/ 1936 h 2615"/>
                <a:gd name="T18" fmla="*/ 0 w 10122"/>
                <a:gd name="T19" fmla="*/ 1936 h 2615"/>
                <a:gd name="T20" fmla="*/ 32 w 10122"/>
                <a:gd name="T21" fmla="*/ 2544 h 2615"/>
                <a:gd name="T22" fmla="*/ 16 w 10122"/>
                <a:gd name="T23" fmla="*/ 2304 h 2615"/>
                <a:gd name="T24" fmla="*/ 361 w 10122"/>
                <a:gd name="T25" fmla="*/ 2599 h 2615"/>
                <a:gd name="T26" fmla="*/ 121 w 10122"/>
                <a:gd name="T27" fmla="*/ 2583 h 2615"/>
                <a:gd name="T28" fmla="*/ 729 w 10122"/>
                <a:gd name="T29" fmla="*/ 2615 h 2615"/>
                <a:gd name="T30" fmla="*/ 889 w 10122"/>
                <a:gd name="T31" fmla="*/ 2583 h 2615"/>
                <a:gd name="T32" fmla="*/ 889 w 10122"/>
                <a:gd name="T33" fmla="*/ 2615 h 2615"/>
                <a:gd name="T34" fmla="*/ 1497 w 10122"/>
                <a:gd name="T35" fmla="*/ 2583 h 2615"/>
                <a:gd name="T36" fmla="*/ 1257 w 10122"/>
                <a:gd name="T37" fmla="*/ 2599 h 2615"/>
                <a:gd name="T38" fmla="*/ 1897 w 10122"/>
                <a:gd name="T39" fmla="*/ 2599 h 2615"/>
                <a:gd name="T40" fmla="*/ 1657 w 10122"/>
                <a:gd name="T41" fmla="*/ 2583 h 2615"/>
                <a:gd name="T42" fmla="*/ 2265 w 10122"/>
                <a:gd name="T43" fmla="*/ 2615 h 2615"/>
                <a:gd name="T44" fmla="*/ 2425 w 10122"/>
                <a:gd name="T45" fmla="*/ 2583 h 2615"/>
                <a:gd name="T46" fmla="*/ 2425 w 10122"/>
                <a:gd name="T47" fmla="*/ 2615 h 2615"/>
                <a:gd name="T48" fmla="*/ 3033 w 10122"/>
                <a:gd name="T49" fmla="*/ 2583 h 2615"/>
                <a:gd name="T50" fmla="*/ 2793 w 10122"/>
                <a:gd name="T51" fmla="*/ 2599 h 2615"/>
                <a:gd name="T52" fmla="*/ 3433 w 10122"/>
                <a:gd name="T53" fmla="*/ 2599 h 2615"/>
                <a:gd name="T54" fmla="*/ 3193 w 10122"/>
                <a:gd name="T55" fmla="*/ 2583 h 2615"/>
                <a:gd name="T56" fmla="*/ 3801 w 10122"/>
                <a:gd name="T57" fmla="*/ 2615 h 2615"/>
                <a:gd name="T58" fmla="*/ 3961 w 10122"/>
                <a:gd name="T59" fmla="*/ 2583 h 2615"/>
                <a:gd name="T60" fmla="*/ 3961 w 10122"/>
                <a:gd name="T61" fmla="*/ 2615 h 2615"/>
                <a:gd name="T62" fmla="*/ 4569 w 10122"/>
                <a:gd name="T63" fmla="*/ 2583 h 2615"/>
                <a:gd name="T64" fmla="*/ 4329 w 10122"/>
                <a:gd name="T65" fmla="*/ 2599 h 2615"/>
                <a:gd name="T66" fmla="*/ 4969 w 10122"/>
                <a:gd name="T67" fmla="*/ 2599 h 2615"/>
                <a:gd name="T68" fmla="*/ 4729 w 10122"/>
                <a:gd name="T69" fmla="*/ 2583 h 2615"/>
                <a:gd name="T70" fmla="*/ 5337 w 10122"/>
                <a:gd name="T71" fmla="*/ 2615 h 2615"/>
                <a:gd name="T72" fmla="*/ 5497 w 10122"/>
                <a:gd name="T73" fmla="*/ 2583 h 2615"/>
                <a:gd name="T74" fmla="*/ 5497 w 10122"/>
                <a:gd name="T75" fmla="*/ 2615 h 2615"/>
                <a:gd name="T76" fmla="*/ 6105 w 10122"/>
                <a:gd name="T77" fmla="*/ 2583 h 2615"/>
                <a:gd name="T78" fmla="*/ 5865 w 10122"/>
                <a:gd name="T79" fmla="*/ 2599 h 2615"/>
                <a:gd name="T80" fmla="*/ 6505 w 10122"/>
                <a:gd name="T81" fmla="*/ 2599 h 2615"/>
                <a:gd name="T82" fmla="*/ 6265 w 10122"/>
                <a:gd name="T83" fmla="*/ 2583 h 2615"/>
                <a:gd name="T84" fmla="*/ 6873 w 10122"/>
                <a:gd name="T85" fmla="*/ 2615 h 2615"/>
                <a:gd name="T86" fmla="*/ 7033 w 10122"/>
                <a:gd name="T87" fmla="*/ 2583 h 2615"/>
                <a:gd name="T88" fmla="*/ 7033 w 10122"/>
                <a:gd name="T89" fmla="*/ 2615 h 2615"/>
                <a:gd name="T90" fmla="*/ 7641 w 10122"/>
                <a:gd name="T91" fmla="*/ 2583 h 2615"/>
                <a:gd name="T92" fmla="*/ 7401 w 10122"/>
                <a:gd name="T93" fmla="*/ 2599 h 2615"/>
                <a:gd name="T94" fmla="*/ 8041 w 10122"/>
                <a:gd name="T95" fmla="*/ 2599 h 2615"/>
                <a:gd name="T96" fmla="*/ 7801 w 10122"/>
                <a:gd name="T97" fmla="*/ 2583 h 2615"/>
                <a:gd name="T98" fmla="*/ 8409 w 10122"/>
                <a:gd name="T99" fmla="*/ 2615 h 2615"/>
                <a:gd name="T100" fmla="*/ 8569 w 10122"/>
                <a:gd name="T101" fmla="*/ 2583 h 2615"/>
                <a:gd name="T102" fmla="*/ 8569 w 10122"/>
                <a:gd name="T103" fmla="*/ 2615 h 2615"/>
                <a:gd name="T104" fmla="*/ 9177 w 10122"/>
                <a:gd name="T105" fmla="*/ 2583 h 2615"/>
                <a:gd name="T106" fmla="*/ 8937 w 10122"/>
                <a:gd name="T107" fmla="*/ 2599 h 2615"/>
                <a:gd name="T108" fmla="*/ 9577 w 10122"/>
                <a:gd name="T109" fmla="*/ 2599 h 2615"/>
                <a:gd name="T110" fmla="*/ 9337 w 10122"/>
                <a:gd name="T111" fmla="*/ 2583 h 2615"/>
                <a:gd name="T112" fmla="*/ 9945 w 10122"/>
                <a:gd name="T113" fmla="*/ 2615 h 2615"/>
                <a:gd name="T114" fmla="*/ 10105 w 10122"/>
                <a:gd name="T115" fmla="*/ 2583 h 2615"/>
                <a:gd name="T116" fmla="*/ 10105 w 10122"/>
                <a:gd name="T117" fmla="*/ 2615 h 2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122" h="2615">
                  <a:moveTo>
                    <a:pt x="32" y="16"/>
                  </a:moveTo>
                  <a:lnTo>
                    <a:pt x="32" y="240"/>
                  </a:lnTo>
                  <a:cubicBezTo>
                    <a:pt x="32" y="249"/>
                    <a:pt x="25" y="256"/>
                    <a:pt x="16" y="256"/>
                  </a:cubicBezTo>
                  <a:cubicBezTo>
                    <a:pt x="7" y="256"/>
                    <a:pt x="0" y="249"/>
                    <a:pt x="0" y="240"/>
                  </a:cubicBezTo>
                  <a:lnTo>
                    <a:pt x="0" y="16"/>
                  </a:lnTo>
                  <a:cubicBezTo>
                    <a:pt x="0" y="7"/>
                    <a:pt x="7" y="0"/>
                    <a:pt x="16" y="0"/>
                  </a:cubicBezTo>
                  <a:cubicBezTo>
                    <a:pt x="25" y="0"/>
                    <a:pt x="32" y="7"/>
                    <a:pt x="32" y="16"/>
                  </a:cubicBezTo>
                  <a:close/>
                  <a:moveTo>
                    <a:pt x="32" y="400"/>
                  </a:moveTo>
                  <a:lnTo>
                    <a:pt x="32" y="624"/>
                  </a:lnTo>
                  <a:cubicBezTo>
                    <a:pt x="32" y="633"/>
                    <a:pt x="25" y="640"/>
                    <a:pt x="16" y="640"/>
                  </a:cubicBezTo>
                  <a:cubicBezTo>
                    <a:pt x="7" y="640"/>
                    <a:pt x="0" y="633"/>
                    <a:pt x="0" y="624"/>
                  </a:cubicBezTo>
                  <a:lnTo>
                    <a:pt x="0" y="400"/>
                  </a:lnTo>
                  <a:cubicBezTo>
                    <a:pt x="0" y="391"/>
                    <a:pt x="7" y="384"/>
                    <a:pt x="16" y="384"/>
                  </a:cubicBezTo>
                  <a:cubicBezTo>
                    <a:pt x="25" y="384"/>
                    <a:pt x="32" y="391"/>
                    <a:pt x="32" y="400"/>
                  </a:cubicBezTo>
                  <a:close/>
                  <a:moveTo>
                    <a:pt x="32" y="784"/>
                  </a:moveTo>
                  <a:lnTo>
                    <a:pt x="32" y="1008"/>
                  </a:lnTo>
                  <a:cubicBezTo>
                    <a:pt x="32" y="1017"/>
                    <a:pt x="25" y="1024"/>
                    <a:pt x="16" y="1024"/>
                  </a:cubicBezTo>
                  <a:cubicBezTo>
                    <a:pt x="7" y="1024"/>
                    <a:pt x="0" y="1017"/>
                    <a:pt x="0" y="1008"/>
                  </a:cubicBezTo>
                  <a:lnTo>
                    <a:pt x="0" y="784"/>
                  </a:lnTo>
                  <a:cubicBezTo>
                    <a:pt x="0" y="775"/>
                    <a:pt x="7" y="768"/>
                    <a:pt x="16" y="768"/>
                  </a:cubicBezTo>
                  <a:cubicBezTo>
                    <a:pt x="25" y="768"/>
                    <a:pt x="32" y="775"/>
                    <a:pt x="32" y="784"/>
                  </a:cubicBezTo>
                  <a:close/>
                  <a:moveTo>
                    <a:pt x="32" y="1168"/>
                  </a:moveTo>
                  <a:lnTo>
                    <a:pt x="32" y="1392"/>
                  </a:lnTo>
                  <a:cubicBezTo>
                    <a:pt x="32" y="1401"/>
                    <a:pt x="25" y="1408"/>
                    <a:pt x="16" y="1408"/>
                  </a:cubicBezTo>
                  <a:cubicBezTo>
                    <a:pt x="7" y="1408"/>
                    <a:pt x="0" y="1401"/>
                    <a:pt x="0" y="1392"/>
                  </a:cubicBezTo>
                  <a:lnTo>
                    <a:pt x="0" y="1168"/>
                  </a:lnTo>
                  <a:cubicBezTo>
                    <a:pt x="0" y="1159"/>
                    <a:pt x="7" y="1152"/>
                    <a:pt x="16" y="1152"/>
                  </a:cubicBezTo>
                  <a:cubicBezTo>
                    <a:pt x="25" y="1152"/>
                    <a:pt x="32" y="1159"/>
                    <a:pt x="32" y="1168"/>
                  </a:cubicBezTo>
                  <a:close/>
                  <a:moveTo>
                    <a:pt x="32" y="1552"/>
                  </a:moveTo>
                  <a:lnTo>
                    <a:pt x="32" y="1776"/>
                  </a:lnTo>
                  <a:cubicBezTo>
                    <a:pt x="32" y="1785"/>
                    <a:pt x="25" y="1792"/>
                    <a:pt x="16" y="1792"/>
                  </a:cubicBezTo>
                  <a:cubicBezTo>
                    <a:pt x="7" y="1792"/>
                    <a:pt x="0" y="1785"/>
                    <a:pt x="0" y="1776"/>
                  </a:cubicBezTo>
                  <a:lnTo>
                    <a:pt x="0" y="1552"/>
                  </a:lnTo>
                  <a:cubicBezTo>
                    <a:pt x="0" y="1543"/>
                    <a:pt x="7" y="1536"/>
                    <a:pt x="16" y="1536"/>
                  </a:cubicBezTo>
                  <a:cubicBezTo>
                    <a:pt x="25" y="1536"/>
                    <a:pt x="32" y="1543"/>
                    <a:pt x="32" y="1552"/>
                  </a:cubicBezTo>
                  <a:close/>
                  <a:moveTo>
                    <a:pt x="32" y="1936"/>
                  </a:moveTo>
                  <a:lnTo>
                    <a:pt x="32" y="2160"/>
                  </a:lnTo>
                  <a:cubicBezTo>
                    <a:pt x="32" y="2169"/>
                    <a:pt x="25" y="2176"/>
                    <a:pt x="16" y="2176"/>
                  </a:cubicBezTo>
                  <a:cubicBezTo>
                    <a:pt x="7" y="2176"/>
                    <a:pt x="0" y="2169"/>
                    <a:pt x="0" y="2160"/>
                  </a:cubicBezTo>
                  <a:lnTo>
                    <a:pt x="0" y="1936"/>
                  </a:lnTo>
                  <a:cubicBezTo>
                    <a:pt x="0" y="1927"/>
                    <a:pt x="7" y="1920"/>
                    <a:pt x="16" y="1920"/>
                  </a:cubicBezTo>
                  <a:cubicBezTo>
                    <a:pt x="25" y="1920"/>
                    <a:pt x="32" y="1927"/>
                    <a:pt x="32" y="1936"/>
                  </a:cubicBezTo>
                  <a:close/>
                  <a:moveTo>
                    <a:pt x="32" y="2320"/>
                  </a:moveTo>
                  <a:lnTo>
                    <a:pt x="32" y="2544"/>
                  </a:lnTo>
                  <a:cubicBezTo>
                    <a:pt x="32" y="2553"/>
                    <a:pt x="25" y="2560"/>
                    <a:pt x="16" y="2560"/>
                  </a:cubicBezTo>
                  <a:cubicBezTo>
                    <a:pt x="7" y="2560"/>
                    <a:pt x="0" y="2553"/>
                    <a:pt x="0" y="2544"/>
                  </a:cubicBezTo>
                  <a:lnTo>
                    <a:pt x="0" y="2320"/>
                  </a:lnTo>
                  <a:cubicBezTo>
                    <a:pt x="0" y="2311"/>
                    <a:pt x="7" y="2304"/>
                    <a:pt x="16" y="2304"/>
                  </a:cubicBezTo>
                  <a:cubicBezTo>
                    <a:pt x="25" y="2304"/>
                    <a:pt x="32" y="2311"/>
                    <a:pt x="32" y="2320"/>
                  </a:cubicBezTo>
                  <a:close/>
                  <a:moveTo>
                    <a:pt x="121" y="2583"/>
                  </a:moveTo>
                  <a:lnTo>
                    <a:pt x="345" y="2583"/>
                  </a:lnTo>
                  <a:cubicBezTo>
                    <a:pt x="353" y="2583"/>
                    <a:pt x="361" y="2590"/>
                    <a:pt x="361" y="2599"/>
                  </a:cubicBezTo>
                  <a:cubicBezTo>
                    <a:pt x="361" y="2608"/>
                    <a:pt x="353" y="2615"/>
                    <a:pt x="345" y="2615"/>
                  </a:cubicBezTo>
                  <a:lnTo>
                    <a:pt x="121" y="2615"/>
                  </a:lnTo>
                  <a:cubicBezTo>
                    <a:pt x="112" y="2615"/>
                    <a:pt x="105" y="2608"/>
                    <a:pt x="105" y="2599"/>
                  </a:cubicBezTo>
                  <a:cubicBezTo>
                    <a:pt x="105" y="2590"/>
                    <a:pt x="112" y="2583"/>
                    <a:pt x="121" y="2583"/>
                  </a:cubicBezTo>
                  <a:close/>
                  <a:moveTo>
                    <a:pt x="505" y="2583"/>
                  </a:moveTo>
                  <a:lnTo>
                    <a:pt x="729" y="2583"/>
                  </a:lnTo>
                  <a:cubicBezTo>
                    <a:pt x="737" y="2583"/>
                    <a:pt x="745" y="2590"/>
                    <a:pt x="745" y="2599"/>
                  </a:cubicBezTo>
                  <a:cubicBezTo>
                    <a:pt x="745" y="2608"/>
                    <a:pt x="737" y="2615"/>
                    <a:pt x="729" y="2615"/>
                  </a:cubicBezTo>
                  <a:lnTo>
                    <a:pt x="505" y="2615"/>
                  </a:lnTo>
                  <a:cubicBezTo>
                    <a:pt x="496" y="2615"/>
                    <a:pt x="489" y="2608"/>
                    <a:pt x="489" y="2599"/>
                  </a:cubicBezTo>
                  <a:cubicBezTo>
                    <a:pt x="489" y="2590"/>
                    <a:pt x="496" y="2583"/>
                    <a:pt x="505" y="2583"/>
                  </a:cubicBezTo>
                  <a:close/>
                  <a:moveTo>
                    <a:pt x="889" y="2583"/>
                  </a:moveTo>
                  <a:lnTo>
                    <a:pt x="1113" y="2583"/>
                  </a:lnTo>
                  <a:cubicBezTo>
                    <a:pt x="1121" y="2583"/>
                    <a:pt x="1129" y="2590"/>
                    <a:pt x="1129" y="2599"/>
                  </a:cubicBezTo>
                  <a:cubicBezTo>
                    <a:pt x="1129" y="2608"/>
                    <a:pt x="1121" y="2615"/>
                    <a:pt x="1113" y="2615"/>
                  </a:cubicBezTo>
                  <a:lnTo>
                    <a:pt x="889" y="2615"/>
                  </a:lnTo>
                  <a:cubicBezTo>
                    <a:pt x="880" y="2615"/>
                    <a:pt x="873" y="2608"/>
                    <a:pt x="873" y="2599"/>
                  </a:cubicBezTo>
                  <a:cubicBezTo>
                    <a:pt x="873" y="2590"/>
                    <a:pt x="880" y="2583"/>
                    <a:pt x="889" y="2583"/>
                  </a:cubicBezTo>
                  <a:close/>
                  <a:moveTo>
                    <a:pt x="1273" y="2583"/>
                  </a:moveTo>
                  <a:lnTo>
                    <a:pt x="1497" y="2583"/>
                  </a:lnTo>
                  <a:cubicBezTo>
                    <a:pt x="1505" y="2583"/>
                    <a:pt x="1513" y="2590"/>
                    <a:pt x="1513" y="2599"/>
                  </a:cubicBezTo>
                  <a:cubicBezTo>
                    <a:pt x="1513" y="2608"/>
                    <a:pt x="1505" y="2615"/>
                    <a:pt x="1497" y="2615"/>
                  </a:cubicBezTo>
                  <a:lnTo>
                    <a:pt x="1273" y="2615"/>
                  </a:lnTo>
                  <a:cubicBezTo>
                    <a:pt x="1264" y="2615"/>
                    <a:pt x="1257" y="2608"/>
                    <a:pt x="1257" y="2599"/>
                  </a:cubicBezTo>
                  <a:cubicBezTo>
                    <a:pt x="1257" y="2590"/>
                    <a:pt x="1264" y="2583"/>
                    <a:pt x="1273" y="2583"/>
                  </a:cubicBezTo>
                  <a:close/>
                  <a:moveTo>
                    <a:pt x="1657" y="2583"/>
                  </a:moveTo>
                  <a:lnTo>
                    <a:pt x="1881" y="2583"/>
                  </a:lnTo>
                  <a:cubicBezTo>
                    <a:pt x="1889" y="2583"/>
                    <a:pt x="1897" y="2590"/>
                    <a:pt x="1897" y="2599"/>
                  </a:cubicBezTo>
                  <a:cubicBezTo>
                    <a:pt x="1897" y="2608"/>
                    <a:pt x="1889" y="2615"/>
                    <a:pt x="1881" y="2615"/>
                  </a:cubicBezTo>
                  <a:lnTo>
                    <a:pt x="1657" y="2615"/>
                  </a:lnTo>
                  <a:cubicBezTo>
                    <a:pt x="1648" y="2615"/>
                    <a:pt x="1641" y="2608"/>
                    <a:pt x="1641" y="2599"/>
                  </a:cubicBezTo>
                  <a:cubicBezTo>
                    <a:pt x="1641" y="2590"/>
                    <a:pt x="1648" y="2583"/>
                    <a:pt x="1657" y="2583"/>
                  </a:cubicBezTo>
                  <a:close/>
                  <a:moveTo>
                    <a:pt x="2041" y="2583"/>
                  </a:moveTo>
                  <a:lnTo>
                    <a:pt x="2265" y="2583"/>
                  </a:lnTo>
                  <a:cubicBezTo>
                    <a:pt x="2273" y="2583"/>
                    <a:pt x="2281" y="2590"/>
                    <a:pt x="2281" y="2599"/>
                  </a:cubicBezTo>
                  <a:cubicBezTo>
                    <a:pt x="2281" y="2608"/>
                    <a:pt x="2273" y="2615"/>
                    <a:pt x="2265" y="2615"/>
                  </a:cubicBezTo>
                  <a:lnTo>
                    <a:pt x="2041" y="2615"/>
                  </a:lnTo>
                  <a:cubicBezTo>
                    <a:pt x="2032" y="2615"/>
                    <a:pt x="2025" y="2608"/>
                    <a:pt x="2025" y="2599"/>
                  </a:cubicBezTo>
                  <a:cubicBezTo>
                    <a:pt x="2025" y="2590"/>
                    <a:pt x="2032" y="2583"/>
                    <a:pt x="2041" y="2583"/>
                  </a:cubicBezTo>
                  <a:close/>
                  <a:moveTo>
                    <a:pt x="2425" y="2583"/>
                  </a:moveTo>
                  <a:lnTo>
                    <a:pt x="2649" y="2583"/>
                  </a:lnTo>
                  <a:cubicBezTo>
                    <a:pt x="2657" y="2583"/>
                    <a:pt x="2665" y="2590"/>
                    <a:pt x="2665" y="2599"/>
                  </a:cubicBezTo>
                  <a:cubicBezTo>
                    <a:pt x="2665" y="2608"/>
                    <a:pt x="2657" y="2615"/>
                    <a:pt x="2649" y="2615"/>
                  </a:cubicBezTo>
                  <a:lnTo>
                    <a:pt x="2425" y="2615"/>
                  </a:lnTo>
                  <a:cubicBezTo>
                    <a:pt x="2416" y="2615"/>
                    <a:pt x="2409" y="2608"/>
                    <a:pt x="2409" y="2599"/>
                  </a:cubicBezTo>
                  <a:cubicBezTo>
                    <a:pt x="2409" y="2590"/>
                    <a:pt x="2416" y="2583"/>
                    <a:pt x="2425" y="2583"/>
                  </a:cubicBezTo>
                  <a:close/>
                  <a:moveTo>
                    <a:pt x="2809" y="2583"/>
                  </a:moveTo>
                  <a:lnTo>
                    <a:pt x="3033" y="2583"/>
                  </a:lnTo>
                  <a:cubicBezTo>
                    <a:pt x="3041" y="2583"/>
                    <a:pt x="3049" y="2590"/>
                    <a:pt x="3049" y="2599"/>
                  </a:cubicBezTo>
                  <a:cubicBezTo>
                    <a:pt x="3049" y="2608"/>
                    <a:pt x="3041" y="2615"/>
                    <a:pt x="3033" y="2615"/>
                  </a:cubicBezTo>
                  <a:lnTo>
                    <a:pt x="2809" y="2615"/>
                  </a:lnTo>
                  <a:cubicBezTo>
                    <a:pt x="2800" y="2615"/>
                    <a:pt x="2793" y="2608"/>
                    <a:pt x="2793" y="2599"/>
                  </a:cubicBezTo>
                  <a:cubicBezTo>
                    <a:pt x="2793" y="2590"/>
                    <a:pt x="2800" y="2583"/>
                    <a:pt x="2809" y="2583"/>
                  </a:cubicBezTo>
                  <a:close/>
                  <a:moveTo>
                    <a:pt x="3193" y="2583"/>
                  </a:moveTo>
                  <a:lnTo>
                    <a:pt x="3417" y="2583"/>
                  </a:lnTo>
                  <a:cubicBezTo>
                    <a:pt x="3425" y="2583"/>
                    <a:pt x="3433" y="2590"/>
                    <a:pt x="3433" y="2599"/>
                  </a:cubicBezTo>
                  <a:cubicBezTo>
                    <a:pt x="3433" y="2608"/>
                    <a:pt x="3425" y="2615"/>
                    <a:pt x="3417" y="2615"/>
                  </a:cubicBezTo>
                  <a:lnTo>
                    <a:pt x="3193" y="2615"/>
                  </a:lnTo>
                  <a:cubicBezTo>
                    <a:pt x="3184" y="2615"/>
                    <a:pt x="3177" y="2608"/>
                    <a:pt x="3177" y="2599"/>
                  </a:cubicBezTo>
                  <a:cubicBezTo>
                    <a:pt x="3177" y="2590"/>
                    <a:pt x="3184" y="2583"/>
                    <a:pt x="3193" y="2583"/>
                  </a:cubicBezTo>
                  <a:close/>
                  <a:moveTo>
                    <a:pt x="3577" y="2583"/>
                  </a:moveTo>
                  <a:lnTo>
                    <a:pt x="3801" y="2583"/>
                  </a:lnTo>
                  <a:cubicBezTo>
                    <a:pt x="3809" y="2583"/>
                    <a:pt x="3817" y="2590"/>
                    <a:pt x="3817" y="2599"/>
                  </a:cubicBezTo>
                  <a:cubicBezTo>
                    <a:pt x="3817" y="2608"/>
                    <a:pt x="3809" y="2615"/>
                    <a:pt x="3801" y="2615"/>
                  </a:cubicBezTo>
                  <a:lnTo>
                    <a:pt x="3577" y="2615"/>
                  </a:lnTo>
                  <a:cubicBezTo>
                    <a:pt x="3568" y="2615"/>
                    <a:pt x="3561" y="2608"/>
                    <a:pt x="3561" y="2599"/>
                  </a:cubicBezTo>
                  <a:cubicBezTo>
                    <a:pt x="3561" y="2590"/>
                    <a:pt x="3568" y="2583"/>
                    <a:pt x="3577" y="2583"/>
                  </a:cubicBezTo>
                  <a:close/>
                  <a:moveTo>
                    <a:pt x="3961" y="2583"/>
                  </a:moveTo>
                  <a:lnTo>
                    <a:pt x="4185" y="2583"/>
                  </a:lnTo>
                  <a:cubicBezTo>
                    <a:pt x="4193" y="2583"/>
                    <a:pt x="4201" y="2590"/>
                    <a:pt x="4201" y="2599"/>
                  </a:cubicBezTo>
                  <a:cubicBezTo>
                    <a:pt x="4201" y="2608"/>
                    <a:pt x="4193" y="2615"/>
                    <a:pt x="4185" y="2615"/>
                  </a:cubicBezTo>
                  <a:lnTo>
                    <a:pt x="3961" y="2615"/>
                  </a:lnTo>
                  <a:cubicBezTo>
                    <a:pt x="3952" y="2615"/>
                    <a:pt x="3945" y="2608"/>
                    <a:pt x="3945" y="2599"/>
                  </a:cubicBezTo>
                  <a:cubicBezTo>
                    <a:pt x="3945" y="2590"/>
                    <a:pt x="3952" y="2583"/>
                    <a:pt x="3961" y="2583"/>
                  </a:cubicBezTo>
                  <a:close/>
                  <a:moveTo>
                    <a:pt x="4345" y="2583"/>
                  </a:moveTo>
                  <a:lnTo>
                    <a:pt x="4569" y="2583"/>
                  </a:lnTo>
                  <a:cubicBezTo>
                    <a:pt x="4577" y="2583"/>
                    <a:pt x="4585" y="2590"/>
                    <a:pt x="4585" y="2599"/>
                  </a:cubicBezTo>
                  <a:cubicBezTo>
                    <a:pt x="4585" y="2608"/>
                    <a:pt x="4577" y="2615"/>
                    <a:pt x="4569" y="2615"/>
                  </a:cubicBezTo>
                  <a:lnTo>
                    <a:pt x="4345" y="2615"/>
                  </a:lnTo>
                  <a:cubicBezTo>
                    <a:pt x="4336" y="2615"/>
                    <a:pt x="4329" y="2608"/>
                    <a:pt x="4329" y="2599"/>
                  </a:cubicBezTo>
                  <a:cubicBezTo>
                    <a:pt x="4329" y="2590"/>
                    <a:pt x="4336" y="2583"/>
                    <a:pt x="4345" y="2583"/>
                  </a:cubicBezTo>
                  <a:close/>
                  <a:moveTo>
                    <a:pt x="4729" y="2583"/>
                  </a:moveTo>
                  <a:lnTo>
                    <a:pt x="4953" y="2583"/>
                  </a:lnTo>
                  <a:cubicBezTo>
                    <a:pt x="4961" y="2583"/>
                    <a:pt x="4969" y="2590"/>
                    <a:pt x="4969" y="2599"/>
                  </a:cubicBezTo>
                  <a:cubicBezTo>
                    <a:pt x="4969" y="2608"/>
                    <a:pt x="4961" y="2615"/>
                    <a:pt x="4953" y="2615"/>
                  </a:cubicBezTo>
                  <a:lnTo>
                    <a:pt x="4729" y="2615"/>
                  </a:lnTo>
                  <a:cubicBezTo>
                    <a:pt x="4720" y="2615"/>
                    <a:pt x="4713" y="2608"/>
                    <a:pt x="4713" y="2599"/>
                  </a:cubicBezTo>
                  <a:cubicBezTo>
                    <a:pt x="4713" y="2590"/>
                    <a:pt x="4720" y="2583"/>
                    <a:pt x="4729" y="2583"/>
                  </a:cubicBezTo>
                  <a:close/>
                  <a:moveTo>
                    <a:pt x="5113" y="2583"/>
                  </a:moveTo>
                  <a:lnTo>
                    <a:pt x="5337" y="2583"/>
                  </a:lnTo>
                  <a:cubicBezTo>
                    <a:pt x="5345" y="2583"/>
                    <a:pt x="5353" y="2590"/>
                    <a:pt x="5353" y="2599"/>
                  </a:cubicBezTo>
                  <a:cubicBezTo>
                    <a:pt x="5353" y="2608"/>
                    <a:pt x="5345" y="2615"/>
                    <a:pt x="5337" y="2615"/>
                  </a:cubicBezTo>
                  <a:lnTo>
                    <a:pt x="5113" y="2615"/>
                  </a:lnTo>
                  <a:cubicBezTo>
                    <a:pt x="5104" y="2615"/>
                    <a:pt x="5097" y="2608"/>
                    <a:pt x="5097" y="2599"/>
                  </a:cubicBezTo>
                  <a:cubicBezTo>
                    <a:pt x="5097" y="2590"/>
                    <a:pt x="5104" y="2583"/>
                    <a:pt x="5113" y="2583"/>
                  </a:cubicBezTo>
                  <a:close/>
                  <a:moveTo>
                    <a:pt x="5497" y="2583"/>
                  </a:moveTo>
                  <a:lnTo>
                    <a:pt x="5721" y="2583"/>
                  </a:lnTo>
                  <a:cubicBezTo>
                    <a:pt x="5729" y="2583"/>
                    <a:pt x="5737" y="2590"/>
                    <a:pt x="5737" y="2599"/>
                  </a:cubicBezTo>
                  <a:cubicBezTo>
                    <a:pt x="5737" y="2608"/>
                    <a:pt x="5729" y="2615"/>
                    <a:pt x="5721" y="2615"/>
                  </a:cubicBezTo>
                  <a:lnTo>
                    <a:pt x="5497" y="2615"/>
                  </a:lnTo>
                  <a:cubicBezTo>
                    <a:pt x="5488" y="2615"/>
                    <a:pt x="5481" y="2608"/>
                    <a:pt x="5481" y="2599"/>
                  </a:cubicBezTo>
                  <a:cubicBezTo>
                    <a:pt x="5481" y="2590"/>
                    <a:pt x="5488" y="2583"/>
                    <a:pt x="5497" y="2583"/>
                  </a:cubicBezTo>
                  <a:close/>
                  <a:moveTo>
                    <a:pt x="5881" y="2583"/>
                  </a:moveTo>
                  <a:lnTo>
                    <a:pt x="6105" y="2583"/>
                  </a:lnTo>
                  <a:cubicBezTo>
                    <a:pt x="6113" y="2583"/>
                    <a:pt x="6121" y="2590"/>
                    <a:pt x="6121" y="2599"/>
                  </a:cubicBezTo>
                  <a:cubicBezTo>
                    <a:pt x="6121" y="2608"/>
                    <a:pt x="6113" y="2615"/>
                    <a:pt x="6105" y="2615"/>
                  </a:cubicBezTo>
                  <a:lnTo>
                    <a:pt x="5881" y="2615"/>
                  </a:lnTo>
                  <a:cubicBezTo>
                    <a:pt x="5872" y="2615"/>
                    <a:pt x="5865" y="2608"/>
                    <a:pt x="5865" y="2599"/>
                  </a:cubicBezTo>
                  <a:cubicBezTo>
                    <a:pt x="5865" y="2590"/>
                    <a:pt x="5872" y="2583"/>
                    <a:pt x="5881" y="2583"/>
                  </a:cubicBezTo>
                  <a:close/>
                  <a:moveTo>
                    <a:pt x="6265" y="2583"/>
                  </a:moveTo>
                  <a:lnTo>
                    <a:pt x="6489" y="2583"/>
                  </a:lnTo>
                  <a:cubicBezTo>
                    <a:pt x="6497" y="2583"/>
                    <a:pt x="6505" y="2590"/>
                    <a:pt x="6505" y="2599"/>
                  </a:cubicBezTo>
                  <a:cubicBezTo>
                    <a:pt x="6505" y="2608"/>
                    <a:pt x="6497" y="2615"/>
                    <a:pt x="6489" y="2615"/>
                  </a:cubicBezTo>
                  <a:lnTo>
                    <a:pt x="6265" y="2615"/>
                  </a:lnTo>
                  <a:cubicBezTo>
                    <a:pt x="6256" y="2615"/>
                    <a:pt x="6249" y="2608"/>
                    <a:pt x="6249" y="2599"/>
                  </a:cubicBezTo>
                  <a:cubicBezTo>
                    <a:pt x="6249" y="2590"/>
                    <a:pt x="6256" y="2583"/>
                    <a:pt x="6265" y="2583"/>
                  </a:cubicBezTo>
                  <a:close/>
                  <a:moveTo>
                    <a:pt x="6649" y="2583"/>
                  </a:moveTo>
                  <a:lnTo>
                    <a:pt x="6873" y="2583"/>
                  </a:lnTo>
                  <a:cubicBezTo>
                    <a:pt x="6881" y="2583"/>
                    <a:pt x="6889" y="2590"/>
                    <a:pt x="6889" y="2599"/>
                  </a:cubicBezTo>
                  <a:cubicBezTo>
                    <a:pt x="6889" y="2608"/>
                    <a:pt x="6881" y="2615"/>
                    <a:pt x="6873" y="2615"/>
                  </a:cubicBezTo>
                  <a:lnTo>
                    <a:pt x="6649" y="2615"/>
                  </a:lnTo>
                  <a:cubicBezTo>
                    <a:pt x="6640" y="2615"/>
                    <a:pt x="6633" y="2608"/>
                    <a:pt x="6633" y="2599"/>
                  </a:cubicBezTo>
                  <a:cubicBezTo>
                    <a:pt x="6633" y="2590"/>
                    <a:pt x="6640" y="2583"/>
                    <a:pt x="6649" y="2583"/>
                  </a:cubicBezTo>
                  <a:close/>
                  <a:moveTo>
                    <a:pt x="7033" y="2583"/>
                  </a:moveTo>
                  <a:lnTo>
                    <a:pt x="7257" y="2583"/>
                  </a:lnTo>
                  <a:cubicBezTo>
                    <a:pt x="7265" y="2583"/>
                    <a:pt x="7273" y="2590"/>
                    <a:pt x="7273" y="2599"/>
                  </a:cubicBezTo>
                  <a:cubicBezTo>
                    <a:pt x="7273" y="2608"/>
                    <a:pt x="7265" y="2615"/>
                    <a:pt x="7257" y="2615"/>
                  </a:cubicBezTo>
                  <a:lnTo>
                    <a:pt x="7033" y="2615"/>
                  </a:lnTo>
                  <a:cubicBezTo>
                    <a:pt x="7024" y="2615"/>
                    <a:pt x="7017" y="2608"/>
                    <a:pt x="7017" y="2599"/>
                  </a:cubicBezTo>
                  <a:cubicBezTo>
                    <a:pt x="7017" y="2590"/>
                    <a:pt x="7024" y="2583"/>
                    <a:pt x="7033" y="2583"/>
                  </a:cubicBezTo>
                  <a:close/>
                  <a:moveTo>
                    <a:pt x="7417" y="2583"/>
                  </a:moveTo>
                  <a:lnTo>
                    <a:pt x="7641" y="2583"/>
                  </a:lnTo>
                  <a:cubicBezTo>
                    <a:pt x="7649" y="2583"/>
                    <a:pt x="7657" y="2590"/>
                    <a:pt x="7657" y="2599"/>
                  </a:cubicBezTo>
                  <a:cubicBezTo>
                    <a:pt x="7657" y="2608"/>
                    <a:pt x="7649" y="2615"/>
                    <a:pt x="7641" y="2615"/>
                  </a:cubicBezTo>
                  <a:lnTo>
                    <a:pt x="7417" y="2615"/>
                  </a:lnTo>
                  <a:cubicBezTo>
                    <a:pt x="7408" y="2615"/>
                    <a:pt x="7401" y="2608"/>
                    <a:pt x="7401" y="2599"/>
                  </a:cubicBezTo>
                  <a:cubicBezTo>
                    <a:pt x="7401" y="2590"/>
                    <a:pt x="7408" y="2583"/>
                    <a:pt x="7417" y="2583"/>
                  </a:cubicBezTo>
                  <a:close/>
                  <a:moveTo>
                    <a:pt x="7801" y="2583"/>
                  </a:moveTo>
                  <a:lnTo>
                    <a:pt x="8025" y="2583"/>
                  </a:lnTo>
                  <a:cubicBezTo>
                    <a:pt x="8033" y="2583"/>
                    <a:pt x="8041" y="2590"/>
                    <a:pt x="8041" y="2599"/>
                  </a:cubicBezTo>
                  <a:cubicBezTo>
                    <a:pt x="8041" y="2608"/>
                    <a:pt x="8033" y="2615"/>
                    <a:pt x="8025" y="2615"/>
                  </a:cubicBezTo>
                  <a:lnTo>
                    <a:pt x="7801" y="2615"/>
                  </a:lnTo>
                  <a:cubicBezTo>
                    <a:pt x="7792" y="2615"/>
                    <a:pt x="7785" y="2608"/>
                    <a:pt x="7785" y="2599"/>
                  </a:cubicBezTo>
                  <a:cubicBezTo>
                    <a:pt x="7785" y="2590"/>
                    <a:pt x="7792" y="2583"/>
                    <a:pt x="7801" y="2583"/>
                  </a:cubicBezTo>
                  <a:close/>
                  <a:moveTo>
                    <a:pt x="8185" y="2583"/>
                  </a:moveTo>
                  <a:lnTo>
                    <a:pt x="8409" y="2583"/>
                  </a:lnTo>
                  <a:cubicBezTo>
                    <a:pt x="8417" y="2583"/>
                    <a:pt x="8425" y="2590"/>
                    <a:pt x="8425" y="2599"/>
                  </a:cubicBezTo>
                  <a:cubicBezTo>
                    <a:pt x="8425" y="2608"/>
                    <a:pt x="8417" y="2615"/>
                    <a:pt x="8409" y="2615"/>
                  </a:cubicBezTo>
                  <a:lnTo>
                    <a:pt x="8185" y="2615"/>
                  </a:lnTo>
                  <a:cubicBezTo>
                    <a:pt x="8176" y="2615"/>
                    <a:pt x="8169" y="2608"/>
                    <a:pt x="8169" y="2599"/>
                  </a:cubicBezTo>
                  <a:cubicBezTo>
                    <a:pt x="8169" y="2590"/>
                    <a:pt x="8176" y="2583"/>
                    <a:pt x="8185" y="2583"/>
                  </a:cubicBezTo>
                  <a:close/>
                  <a:moveTo>
                    <a:pt x="8569" y="2583"/>
                  </a:moveTo>
                  <a:lnTo>
                    <a:pt x="8793" y="2583"/>
                  </a:lnTo>
                  <a:cubicBezTo>
                    <a:pt x="8801" y="2583"/>
                    <a:pt x="8809" y="2590"/>
                    <a:pt x="8809" y="2599"/>
                  </a:cubicBezTo>
                  <a:cubicBezTo>
                    <a:pt x="8809" y="2608"/>
                    <a:pt x="8801" y="2615"/>
                    <a:pt x="8793" y="2615"/>
                  </a:cubicBezTo>
                  <a:lnTo>
                    <a:pt x="8569" y="2615"/>
                  </a:lnTo>
                  <a:cubicBezTo>
                    <a:pt x="8560" y="2615"/>
                    <a:pt x="8553" y="2608"/>
                    <a:pt x="8553" y="2599"/>
                  </a:cubicBezTo>
                  <a:cubicBezTo>
                    <a:pt x="8553" y="2590"/>
                    <a:pt x="8560" y="2583"/>
                    <a:pt x="8569" y="2583"/>
                  </a:cubicBezTo>
                  <a:close/>
                  <a:moveTo>
                    <a:pt x="8953" y="2583"/>
                  </a:moveTo>
                  <a:lnTo>
                    <a:pt x="9177" y="2583"/>
                  </a:lnTo>
                  <a:cubicBezTo>
                    <a:pt x="9185" y="2583"/>
                    <a:pt x="9193" y="2590"/>
                    <a:pt x="9193" y="2599"/>
                  </a:cubicBezTo>
                  <a:cubicBezTo>
                    <a:pt x="9193" y="2608"/>
                    <a:pt x="9185" y="2615"/>
                    <a:pt x="9177" y="2615"/>
                  </a:cubicBezTo>
                  <a:lnTo>
                    <a:pt x="8953" y="2615"/>
                  </a:lnTo>
                  <a:cubicBezTo>
                    <a:pt x="8944" y="2615"/>
                    <a:pt x="8937" y="2608"/>
                    <a:pt x="8937" y="2599"/>
                  </a:cubicBezTo>
                  <a:cubicBezTo>
                    <a:pt x="8937" y="2590"/>
                    <a:pt x="8944" y="2583"/>
                    <a:pt x="8953" y="2583"/>
                  </a:cubicBezTo>
                  <a:close/>
                  <a:moveTo>
                    <a:pt x="9337" y="2583"/>
                  </a:moveTo>
                  <a:lnTo>
                    <a:pt x="9561" y="2583"/>
                  </a:lnTo>
                  <a:cubicBezTo>
                    <a:pt x="9569" y="2583"/>
                    <a:pt x="9577" y="2590"/>
                    <a:pt x="9577" y="2599"/>
                  </a:cubicBezTo>
                  <a:cubicBezTo>
                    <a:pt x="9577" y="2608"/>
                    <a:pt x="9569" y="2615"/>
                    <a:pt x="9561" y="2615"/>
                  </a:cubicBezTo>
                  <a:lnTo>
                    <a:pt x="9337" y="2615"/>
                  </a:lnTo>
                  <a:cubicBezTo>
                    <a:pt x="9328" y="2615"/>
                    <a:pt x="9321" y="2608"/>
                    <a:pt x="9321" y="2599"/>
                  </a:cubicBezTo>
                  <a:cubicBezTo>
                    <a:pt x="9321" y="2590"/>
                    <a:pt x="9328" y="2583"/>
                    <a:pt x="9337" y="2583"/>
                  </a:cubicBezTo>
                  <a:close/>
                  <a:moveTo>
                    <a:pt x="9721" y="2583"/>
                  </a:moveTo>
                  <a:lnTo>
                    <a:pt x="9945" y="2583"/>
                  </a:lnTo>
                  <a:cubicBezTo>
                    <a:pt x="9953" y="2583"/>
                    <a:pt x="9961" y="2590"/>
                    <a:pt x="9961" y="2599"/>
                  </a:cubicBezTo>
                  <a:cubicBezTo>
                    <a:pt x="9961" y="2608"/>
                    <a:pt x="9953" y="2615"/>
                    <a:pt x="9945" y="2615"/>
                  </a:cubicBezTo>
                  <a:lnTo>
                    <a:pt x="9721" y="2615"/>
                  </a:lnTo>
                  <a:cubicBezTo>
                    <a:pt x="9712" y="2615"/>
                    <a:pt x="9705" y="2608"/>
                    <a:pt x="9705" y="2599"/>
                  </a:cubicBezTo>
                  <a:cubicBezTo>
                    <a:pt x="9705" y="2590"/>
                    <a:pt x="9712" y="2583"/>
                    <a:pt x="9721" y="2583"/>
                  </a:cubicBezTo>
                  <a:close/>
                  <a:moveTo>
                    <a:pt x="10105" y="2583"/>
                  </a:moveTo>
                  <a:lnTo>
                    <a:pt x="10106" y="2583"/>
                  </a:lnTo>
                  <a:cubicBezTo>
                    <a:pt x="10115" y="2583"/>
                    <a:pt x="10122" y="2590"/>
                    <a:pt x="10122" y="2599"/>
                  </a:cubicBezTo>
                  <a:cubicBezTo>
                    <a:pt x="10122" y="2608"/>
                    <a:pt x="10115" y="2615"/>
                    <a:pt x="10106" y="2615"/>
                  </a:cubicBezTo>
                  <a:lnTo>
                    <a:pt x="10105" y="2615"/>
                  </a:lnTo>
                  <a:cubicBezTo>
                    <a:pt x="10096" y="2615"/>
                    <a:pt x="10089" y="2608"/>
                    <a:pt x="10089" y="2599"/>
                  </a:cubicBezTo>
                  <a:cubicBezTo>
                    <a:pt x="10089" y="2590"/>
                    <a:pt x="10096" y="2583"/>
                    <a:pt x="10105" y="2583"/>
                  </a:cubicBezTo>
                  <a:close/>
                </a:path>
              </a:pathLst>
            </a:custGeom>
            <a:solidFill>
              <a:srgbClr val="000000"/>
            </a:solidFill>
            <a:ln w="1588"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33">
              <a:extLst>
                <a:ext uri="{FF2B5EF4-FFF2-40B4-BE49-F238E27FC236}">
                  <a16:creationId xmlns:a16="http://schemas.microsoft.com/office/drawing/2014/main" id="{7CC5A44F-D340-4692-8BB3-90FFAE7BECA3}"/>
                </a:ext>
              </a:extLst>
            </p:cNvPr>
            <p:cNvSpPr>
              <a:spLocks/>
            </p:cNvSpPr>
            <p:nvPr/>
          </p:nvSpPr>
          <p:spPr bwMode="auto">
            <a:xfrm>
              <a:off x="9709150" y="4811713"/>
              <a:ext cx="125413" cy="125413"/>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Rectangle 42">
              <a:extLst>
                <a:ext uri="{FF2B5EF4-FFF2-40B4-BE49-F238E27FC236}">
                  <a16:creationId xmlns:a16="http://schemas.microsoft.com/office/drawing/2014/main" id="{A2CE0E89-29B4-47DE-981B-12398070ECCA}"/>
                </a:ext>
              </a:extLst>
            </p:cNvPr>
            <p:cNvSpPr>
              <a:spLocks noChangeArrowheads="1"/>
            </p:cNvSpPr>
            <p:nvPr/>
          </p:nvSpPr>
          <p:spPr bwMode="auto">
            <a:xfrm>
              <a:off x="5627688" y="4675188"/>
              <a:ext cx="2573338"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a:ln>
                    <a:noFill/>
                  </a:ln>
                  <a:solidFill>
                    <a:srgbClr val="000000"/>
                  </a:solidFill>
                  <a:effectLst/>
                  <a:latin typeface="Segoe UI" panose="020B0502040204020203" pitchFamily="34" charset="0"/>
                </a:rPr>
                <a:t>automatically applies a retention labe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4" name="Rectangle 43">
              <a:extLst>
                <a:ext uri="{FF2B5EF4-FFF2-40B4-BE49-F238E27FC236}">
                  <a16:creationId xmlns:a16="http://schemas.microsoft.com/office/drawing/2014/main" id="{E6B54088-49C3-4F88-A52E-B2DD63301FEE}"/>
                </a:ext>
              </a:extLst>
            </p:cNvPr>
            <p:cNvSpPr>
              <a:spLocks noChangeArrowheads="1"/>
            </p:cNvSpPr>
            <p:nvPr/>
          </p:nvSpPr>
          <p:spPr bwMode="auto">
            <a:xfrm>
              <a:off x="6153150" y="4860926"/>
              <a:ext cx="1536700"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a:ln>
                    <a:noFill/>
                  </a:ln>
                  <a:solidFill>
                    <a:srgbClr val="000000"/>
                  </a:solidFill>
                  <a:effectLst/>
                  <a:latin typeface="Segoe UI" panose="020B0502040204020203" pitchFamily="34" charset="0"/>
                </a:rPr>
                <a:t>to the selected conten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85" name="Group 84">
            <a:extLst>
              <a:ext uri="{FF2B5EF4-FFF2-40B4-BE49-F238E27FC236}">
                <a16:creationId xmlns:a16="http://schemas.microsoft.com/office/drawing/2014/main" id="{00B94858-4B29-4F55-AFD6-91AECBBF6911}"/>
              </a:ext>
            </a:extLst>
          </p:cNvPr>
          <p:cNvGrpSpPr/>
          <p:nvPr/>
        </p:nvGrpSpPr>
        <p:grpSpPr>
          <a:xfrm>
            <a:off x="5946270" y="3236120"/>
            <a:ext cx="3768725" cy="868362"/>
            <a:chOff x="5946775" y="3238501"/>
            <a:chExt cx="3768725" cy="868362"/>
          </a:xfrm>
        </p:grpSpPr>
        <p:sp>
          <p:nvSpPr>
            <p:cNvPr id="86" name="Freeform 21">
              <a:extLst>
                <a:ext uri="{FF2B5EF4-FFF2-40B4-BE49-F238E27FC236}">
                  <a16:creationId xmlns:a16="http://schemas.microsoft.com/office/drawing/2014/main" id="{0953A42C-45AC-4A90-AC52-86153F3CE99B}"/>
                </a:ext>
              </a:extLst>
            </p:cNvPr>
            <p:cNvSpPr>
              <a:spLocks noEditPoints="1"/>
            </p:cNvSpPr>
            <p:nvPr/>
          </p:nvSpPr>
          <p:spPr bwMode="auto">
            <a:xfrm>
              <a:off x="5946775" y="3438526"/>
              <a:ext cx="3714750" cy="354013"/>
            </a:xfrm>
            <a:custGeom>
              <a:avLst/>
              <a:gdLst>
                <a:gd name="T0" fmla="*/ 256 w 8315"/>
                <a:gd name="T1" fmla="*/ 16 h 790"/>
                <a:gd name="T2" fmla="*/ 0 w 8315"/>
                <a:gd name="T3" fmla="*/ 16 h 790"/>
                <a:gd name="T4" fmla="*/ 624 w 8315"/>
                <a:gd name="T5" fmla="*/ 0 h 790"/>
                <a:gd name="T6" fmla="*/ 400 w 8315"/>
                <a:gd name="T7" fmla="*/ 32 h 790"/>
                <a:gd name="T8" fmla="*/ 784 w 8315"/>
                <a:gd name="T9" fmla="*/ 0 h 790"/>
                <a:gd name="T10" fmla="*/ 1008 w 8315"/>
                <a:gd name="T11" fmla="*/ 32 h 790"/>
                <a:gd name="T12" fmla="*/ 784 w 8315"/>
                <a:gd name="T13" fmla="*/ 0 h 790"/>
                <a:gd name="T14" fmla="*/ 1408 w 8315"/>
                <a:gd name="T15" fmla="*/ 16 h 790"/>
                <a:gd name="T16" fmla="*/ 1152 w 8315"/>
                <a:gd name="T17" fmla="*/ 16 h 790"/>
                <a:gd name="T18" fmla="*/ 1776 w 8315"/>
                <a:gd name="T19" fmla="*/ 0 h 790"/>
                <a:gd name="T20" fmla="*/ 1552 w 8315"/>
                <a:gd name="T21" fmla="*/ 32 h 790"/>
                <a:gd name="T22" fmla="*/ 1936 w 8315"/>
                <a:gd name="T23" fmla="*/ 0 h 790"/>
                <a:gd name="T24" fmla="*/ 2160 w 8315"/>
                <a:gd name="T25" fmla="*/ 32 h 790"/>
                <a:gd name="T26" fmla="*/ 1936 w 8315"/>
                <a:gd name="T27" fmla="*/ 0 h 790"/>
                <a:gd name="T28" fmla="*/ 2560 w 8315"/>
                <a:gd name="T29" fmla="*/ 16 h 790"/>
                <a:gd name="T30" fmla="*/ 2304 w 8315"/>
                <a:gd name="T31" fmla="*/ 16 h 790"/>
                <a:gd name="T32" fmla="*/ 2928 w 8315"/>
                <a:gd name="T33" fmla="*/ 0 h 790"/>
                <a:gd name="T34" fmla="*/ 2704 w 8315"/>
                <a:gd name="T35" fmla="*/ 32 h 790"/>
                <a:gd name="T36" fmla="*/ 3088 w 8315"/>
                <a:gd name="T37" fmla="*/ 0 h 790"/>
                <a:gd name="T38" fmla="*/ 3312 w 8315"/>
                <a:gd name="T39" fmla="*/ 32 h 790"/>
                <a:gd name="T40" fmla="*/ 3088 w 8315"/>
                <a:gd name="T41" fmla="*/ 0 h 790"/>
                <a:gd name="T42" fmla="*/ 3712 w 8315"/>
                <a:gd name="T43" fmla="*/ 16 h 790"/>
                <a:gd name="T44" fmla="*/ 3456 w 8315"/>
                <a:gd name="T45" fmla="*/ 16 h 790"/>
                <a:gd name="T46" fmla="*/ 4080 w 8315"/>
                <a:gd name="T47" fmla="*/ 0 h 790"/>
                <a:gd name="T48" fmla="*/ 3856 w 8315"/>
                <a:gd name="T49" fmla="*/ 32 h 790"/>
                <a:gd name="T50" fmla="*/ 4240 w 8315"/>
                <a:gd name="T51" fmla="*/ 0 h 790"/>
                <a:gd name="T52" fmla="*/ 4464 w 8315"/>
                <a:gd name="T53" fmla="*/ 32 h 790"/>
                <a:gd name="T54" fmla="*/ 4240 w 8315"/>
                <a:gd name="T55" fmla="*/ 0 h 790"/>
                <a:gd name="T56" fmla="*/ 4864 w 8315"/>
                <a:gd name="T57" fmla="*/ 16 h 790"/>
                <a:gd name="T58" fmla="*/ 4608 w 8315"/>
                <a:gd name="T59" fmla="*/ 16 h 790"/>
                <a:gd name="T60" fmla="*/ 5232 w 8315"/>
                <a:gd name="T61" fmla="*/ 0 h 790"/>
                <a:gd name="T62" fmla="*/ 5008 w 8315"/>
                <a:gd name="T63" fmla="*/ 32 h 790"/>
                <a:gd name="T64" fmla="*/ 5392 w 8315"/>
                <a:gd name="T65" fmla="*/ 0 h 790"/>
                <a:gd name="T66" fmla="*/ 5616 w 8315"/>
                <a:gd name="T67" fmla="*/ 32 h 790"/>
                <a:gd name="T68" fmla="*/ 5392 w 8315"/>
                <a:gd name="T69" fmla="*/ 0 h 790"/>
                <a:gd name="T70" fmla="*/ 6016 w 8315"/>
                <a:gd name="T71" fmla="*/ 16 h 790"/>
                <a:gd name="T72" fmla="*/ 5760 w 8315"/>
                <a:gd name="T73" fmla="*/ 16 h 790"/>
                <a:gd name="T74" fmla="*/ 6384 w 8315"/>
                <a:gd name="T75" fmla="*/ 0 h 790"/>
                <a:gd name="T76" fmla="*/ 6160 w 8315"/>
                <a:gd name="T77" fmla="*/ 32 h 790"/>
                <a:gd name="T78" fmla="*/ 6544 w 8315"/>
                <a:gd name="T79" fmla="*/ 0 h 790"/>
                <a:gd name="T80" fmla="*/ 6768 w 8315"/>
                <a:gd name="T81" fmla="*/ 32 h 790"/>
                <a:gd name="T82" fmla="*/ 6544 w 8315"/>
                <a:gd name="T83" fmla="*/ 0 h 790"/>
                <a:gd name="T84" fmla="*/ 7168 w 8315"/>
                <a:gd name="T85" fmla="*/ 16 h 790"/>
                <a:gd name="T86" fmla="*/ 6912 w 8315"/>
                <a:gd name="T87" fmla="*/ 16 h 790"/>
                <a:gd name="T88" fmla="*/ 7536 w 8315"/>
                <a:gd name="T89" fmla="*/ 0 h 790"/>
                <a:gd name="T90" fmla="*/ 7312 w 8315"/>
                <a:gd name="T91" fmla="*/ 32 h 790"/>
                <a:gd name="T92" fmla="*/ 7696 w 8315"/>
                <a:gd name="T93" fmla="*/ 0 h 790"/>
                <a:gd name="T94" fmla="*/ 7920 w 8315"/>
                <a:gd name="T95" fmla="*/ 32 h 790"/>
                <a:gd name="T96" fmla="*/ 7696 w 8315"/>
                <a:gd name="T97" fmla="*/ 0 h 790"/>
                <a:gd name="T98" fmla="*/ 8315 w 8315"/>
                <a:gd name="T99" fmla="*/ 16 h 790"/>
                <a:gd name="T100" fmla="*/ 8283 w 8315"/>
                <a:gd name="T101" fmla="*/ 21 h 790"/>
                <a:gd name="T102" fmla="*/ 8080 w 8315"/>
                <a:gd name="T103" fmla="*/ 32 h 790"/>
                <a:gd name="T104" fmla="*/ 8315 w 8315"/>
                <a:gd name="T105" fmla="*/ 181 h 790"/>
                <a:gd name="T106" fmla="*/ 8283 w 8315"/>
                <a:gd name="T107" fmla="*/ 405 h 790"/>
                <a:gd name="T108" fmla="*/ 8315 w 8315"/>
                <a:gd name="T109" fmla="*/ 181 h 790"/>
                <a:gd name="T110" fmla="*/ 8299 w 8315"/>
                <a:gd name="T111" fmla="*/ 790 h 790"/>
                <a:gd name="T112" fmla="*/ 8299 w 8315"/>
                <a:gd name="T113" fmla="*/ 549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15" h="790">
                  <a:moveTo>
                    <a:pt x="16" y="0"/>
                  </a:moveTo>
                  <a:lnTo>
                    <a:pt x="240" y="0"/>
                  </a:lnTo>
                  <a:cubicBezTo>
                    <a:pt x="249" y="0"/>
                    <a:pt x="256" y="7"/>
                    <a:pt x="256" y="16"/>
                  </a:cubicBezTo>
                  <a:cubicBezTo>
                    <a:pt x="256" y="25"/>
                    <a:pt x="249" y="32"/>
                    <a:pt x="240" y="32"/>
                  </a:cubicBezTo>
                  <a:lnTo>
                    <a:pt x="16" y="32"/>
                  </a:lnTo>
                  <a:cubicBezTo>
                    <a:pt x="7" y="32"/>
                    <a:pt x="0" y="25"/>
                    <a:pt x="0" y="16"/>
                  </a:cubicBezTo>
                  <a:cubicBezTo>
                    <a:pt x="0" y="7"/>
                    <a:pt x="7" y="0"/>
                    <a:pt x="16" y="0"/>
                  </a:cubicBezTo>
                  <a:close/>
                  <a:moveTo>
                    <a:pt x="400" y="0"/>
                  </a:moveTo>
                  <a:lnTo>
                    <a:pt x="624" y="0"/>
                  </a:lnTo>
                  <a:cubicBezTo>
                    <a:pt x="633" y="0"/>
                    <a:pt x="640" y="7"/>
                    <a:pt x="640" y="16"/>
                  </a:cubicBezTo>
                  <a:cubicBezTo>
                    <a:pt x="640" y="25"/>
                    <a:pt x="633" y="32"/>
                    <a:pt x="624" y="32"/>
                  </a:cubicBezTo>
                  <a:lnTo>
                    <a:pt x="400" y="32"/>
                  </a:lnTo>
                  <a:cubicBezTo>
                    <a:pt x="391" y="32"/>
                    <a:pt x="384" y="25"/>
                    <a:pt x="384" y="16"/>
                  </a:cubicBezTo>
                  <a:cubicBezTo>
                    <a:pt x="384" y="7"/>
                    <a:pt x="391" y="0"/>
                    <a:pt x="400" y="0"/>
                  </a:cubicBezTo>
                  <a:close/>
                  <a:moveTo>
                    <a:pt x="784" y="0"/>
                  </a:moveTo>
                  <a:lnTo>
                    <a:pt x="1008" y="0"/>
                  </a:lnTo>
                  <a:cubicBezTo>
                    <a:pt x="1017" y="0"/>
                    <a:pt x="1024" y="7"/>
                    <a:pt x="1024" y="16"/>
                  </a:cubicBezTo>
                  <a:cubicBezTo>
                    <a:pt x="1024" y="25"/>
                    <a:pt x="1017" y="32"/>
                    <a:pt x="1008" y="32"/>
                  </a:cubicBezTo>
                  <a:lnTo>
                    <a:pt x="784" y="32"/>
                  </a:lnTo>
                  <a:cubicBezTo>
                    <a:pt x="775" y="32"/>
                    <a:pt x="768" y="25"/>
                    <a:pt x="768" y="16"/>
                  </a:cubicBezTo>
                  <a:cubicBezTo>
                    <a:pt x="768" y="7"/>
                    <a:pt x="775" y="0"/>
                    <a:pt x="784" y="0"/>
                  </a:cubicBezTo>
                  <a:close/>
                  <a:moveTo>
                    <a:pt x="1168" y="0"/>
                  </a:moveTo>
                  <a:lnTo>
                    <a:pt x="1392" y="0"/>
                  </a:lnTo>
                  <a:cubicBezTo>
                    <a:pt x="1401" y="0"/>
                    <a:pt x="1408" y="7"/>
                    <a:pt x="1408" y="16"/>
                  </a:cubicBezTo>
                  <a:cubicBezTo>
                    <a:pt x="1408" y="25"/>
                    <a:pt x="1401" y="32"/>
                    <a:pt x="1392" y="32"/>
                  </a:cubicBezTo>
                  <a:lnTo>
                    <a:pt x="1168" y="32"/>
                  </a:lnTo>
                  <a:cubicBezTo>
                    <a:pt x="1159" y="32"/>
                    <a:pt x="1152" y="25"/>
                    <a:pt x="1152" y="16"/>
                  </a:cubicBezTo>
                  <a:cubicBezTo>
                    <a:pt x="1152" y="7"/>
                    <a:pt x="1159" y="0"/>
                    <a:pt x="1168" y="0"/>
                  </a:cubicBezTo>
                  <a:close/>
                  <a:moveTo>
                    <a:pt x="1552" y="0"/>
                  </a:moveTo>
                  <a:lnTo>
                    <a:pt x="1776" y="0"/>
                  </a:lnTo>
                  <a:cubicBezTo>
                    <a:pt x="1785" y="0"/>
                    <a:pt x="1792" y="7"/>
                    <a:pt x="1792" y="16"/>
                  </a:cubicBezTo>
                  <a:cubicBezTo>
                    <a:pt x="1792" y="25"/>
                    <a:pt x="1785" y="32"/>
                    <a:pt x="1776" y="32"/>
                  </a:cubicBezTo>
                  <a:lnTo>
                    <a:pt x="1552" y="32"/>
                  </a:lnTo>
                  <a:cubicBezTo>
                    <a:pt x="1543" y="32"/>
                    <a:pt x="1536" y="25"/>
                    <a:pt x="1536" y="16"/>
                  </a:cubicBezTo>
                  <a:cubicBezTo>
                    <a:pt x="1536" y="7"/>
                    <a:pt x="1543" y="0"/>
                    <a:pt x="1552" y="0"/>
                  </a:cubicBezTo>
                  <a:close/>
                  <a:moveTo>
                    <a:pt x="1936" y="0"/>
                  </a:moveTo>
                  <a:lnTo>
                    <a:pt x="2160" y="0"/>
                  </a:lnTo>
                  <a:cubicBezTo>
                    <a:pt x="2169" y="0"/>
                    <a:pt x="2176" y="7"/>
                    <a:pt x="2176" y="16"/>
                  </a:cubicBezTo>
                  <a:cubicBezTo>
                    <a:pt x="2176" y="25"/>
                    <a:pt x="2169" y="32"/>
                    <a:pt x="2160" y="32"/>
                  </a:cubicBezTo>
                  <a:lnTo>
                    <a:pt x="1936" y="32"/>
                  </a:lnTo>
                  <a:cubicBezTo>
                    <a:pt x="1927" y="32"/>
                    <a:pt x="1920" y="25"/>
                    <a:pt x="1920" y="16"/>
                  </a:cubicBezTo>
                  <a:cubicBezTo>
                    <a:pt x="1920" y="7"/>
                    <a:pt x="1927" y="0"/>
                    <a:pt x="1936" y="0"/>
                  </a:cubicBezTo>
                  <a:close/>
                  <a:moveTo>
                    <a:pt x="2320" y="0"/>
                  </a:moveTo>
                  <a:lnTo>
                    <a:pt x="2544" y="0"/>
                  </a:lnTo>
                  <a:cubicBezTo>
                    <a:pt x="2553" y="0"/>
                    <a:pt x="2560" y="7"/>
                    <a:pt x="2560" y="16"/>
                  </a:cubicBezTo>
                  <a:cubicBezTo>
                    <a:pt x="2560" y="25"/>
                    <a:pt x="2553" y="32"/>
                    <a:pt x="2544" y="32"/>
                  </a:cubicBezTo>
                  <a:lnTo>
                    <a:pt x="2320" y="32"/>
                  </a:lnTo>
                  <a:cubicBezTo>
                    <a:pt x="2311" y="32"/>
                    <a:pt x="2304" y="25"/>
                    <a:pt x="2304" y="16"/>
                  </a:cubicBezTo>
                  <a:cubicBezTo>
                    <a:pt x="2304" y="7"/>
                    <a:pt x="2311" y="0"/>
                    <a:pt x="2320" y="0"/>
                  </a:cubicBezTo>
                  <a:close/>
                  <a:moveTo>
                    <a:pt x="2704" y="0"/>
                  </a:moveTo>
                  <a:lnTo>
                    <a:pt x="2928" y="0"/>
                  </a:lnTo>
                  <a:cubicBezTo>
                    <a:pt x="2937" y="0"/>
                    <a:pt x="2944" y="7"/>
                    <a:pt x="2944" y="16"/>
                  </a:cubicBezTo>
                  <a:cubicBezTo>
                    <a:pt x="2944" y="25"/>
                    <a:pt x="2937" y="32"/>
                    <a:pt x="2928" y="32"/>
                  </a:cubicBezTo>
                  <a:lnTo>
                    <a:pt x="2704" y="32"/>
                  </a:lnTo>
                  <a:cubicBezTo>
                    <a:pt x="2695" y="32"/>
                    <a:pt x="2688" y="25"/>
                    <a:pt x="2688" y="16"/>
                  </a:cubicBezTo>
                  <a:cubicBezTo>
                    <a:pt x="2688" y="7"/>
                    <a:pt x="2695" y="0"/>
                    <a:pt x="2704" y="0"/>
                  </a:cubicBezTo>
                  <a:close/>
                  <a:moveTo>
                    <a:pt x="3088" y="0"/>
                  </a:moveTo>
                  <a:lnTo>
                    <a:pt x="3312" y="0"/>
                  </a:lnTo>
                  <a:cubicBezTo>
                    <a:pt x="3321" y="0"/>
                    <a:pt x="3328" y="7"/>
                    <a:pt x="3328" y="16"/>
                  </a:cubicBezTo>
                  <a:cubicBezTo>
                    <a:pt x="3328" y="25"/>
                    <a:pt x="3321" y="32"/>
                    <a:pt x="3312" y="32"/>
                  </a:cubicBezTo>
                  <a:lnTo>
                    <a:pt x="3088" y="32"/>
                  </a:lnTo>
                  <a:cubicBezTo>
                    <a:pt x="3079" y="32"/>
                    <a:pt x="3072" y="25"/>
                    <a:pt x="3072" y="16"/>
                  </a:cubicBezTo>
                  <a:cubicBezTo>
                    <a:pt x="3072" y="7"/>
                    <a:pt x="3079" y="0"/>
                    <a:pt x="3088" y="0"/>
                  </a:cubicBezTo>
                  <a:close/>
                  <a:moveTo>
                    <a:pt x="3472" y="0"/>
                  </a:moveTo>
                  <a:lnTo>
                    <a:pt x="3696" y="0"/>
                  </a:lnTo>
                  <a:cubicBezTo>
                    <a:pt x="3705" y="0"/>
                    <a:pt x="3712" y="7"/>
                    <a:pt x="3712" y="16"/>
                  </a:cubicBezTo>
                  <a:cubicBezTo>
                    <a:pt x="3712" y="25"/>
                    <a:pt x="3705" y="32"/>
                    <a:pt x="3696" y="32"/>
                  </a:cubicBezTo>
                  <a:lnTo>
                    <a:pt x="3472" y="32"/>
                  </a:lnTo>
                  <a:cubicBezTo>
                    <a:pt x="3463" y="32"/>
                    <a:pt x="3456" y="25"/>
                    <a:pt x="3456" y="16"/>
                  </a:cubicBezTo>
                  <a:cubicBezTo>
                    <a:pt x="3456" y="7"/>
                    <a:pt x="3463" y="0"/>
                    <a:pt x="3472" y="0"/>
                  </a:cubicBezTo>
                  <a:close/>
                  <a:moveTo>
                    <a:pt x="3856" y="0"/>
                  </a:moveTo>
                  <a:lnTo>
                    <a:pt x="4080" y="0"/>
                  </a:lnTo>
                  <a:cubicBezTo>
                    <a:pt x="4089" y="0"/>
                    <a:pt x="4096" y="7"/>
                    <a:pt x="4096" y="16"/>
                  </a:cubicBezTo>
                  <a:cubicBezTo>
                    <a:pt x="4096" y="25"/>
                    <a:pt x="4089" y="32"/>
                    <a:pt x="4080" y="32"/>
                  </a:cubicBezTo>
                  <a:lnTo>
                    <a:pt x="3856" y="32"/>
                  </a:lnTo>
                  <a:cubicBezTo>
                    <a:pt x="3847" y="32"/>
                    <a:pt x="3840" y="25"/>
                    <a:pt x="3840" y="16"/>
                  </a:cubicBezTo>
                  <a:cubicBezTo>
                    <a:pt x="3840" y="7"/>
                    <a:pt x="3847" y="0"/>
                    <a:pt x="3856" y="0"/>
                  </a:cubicBezTo>
                  <a:close/>
                  <a:moveTo>
                    <a:pt x="4240" y="0"/>
                  </a:moveTo>
                  <a:lnTo>
                    <a:pt x="4464" y="0"/>
                  </a:lnTo>
                  <a:cubicBezTo>
                    <a:pt x="4473" y="0"/>
                    <a:pt x="4480" y="7"/>
                    <a:pt x="4480" y="16"/>
                  </a:cubicBezTo>
                  <a:cubicBezTo>
                    <a:pt x="4480" y="25"/>
                    <a:pt x="4473" y="32"/>
                    <a:pt x="4464" y="32"/>
                  </a:cubicBezTo>
                  <a:lnTo>
                    <a:pt x="4240" y="32"/>
                  </a:lnTo>
                  <a:cubicBezTo>
                    <a:pt x="4231" y="32"/>
                    <a:pt x="4224" y="25"/>
                    <a:pt x="4224" y="16"/>
                  </a:cubicBezTo>
                  <a:cubicBezTo>
                    <a:pt x="4224" y="7"/>
                    <a:pt x="4231" y="0"/>
                    <a:pt x="4240" y="0"/>
                  </a:cubicBezTo>
                  <a:close/>
                  <a:moveTo>
                    <a:pt x="4624" y="0"/>
                  </a:moveTo>
                  <a:lnTo>
                    <a:pt x="4848" y="0"/>
                  </a:lnTo>
                  <a:cubicBezTo>
                    <a:pt x="4857" y="0"/>
                    <a:pt x="4864" y="7"/>
                    <a:pt x="4864" y="16"/>
                  </a:cubicBezTo>
                  <a:cubicBezTo>
                    <a:pt x="4864" y="25"/>
                    <a:pt x="4857" y="32"/>
                    <a:pt x="4848" y="32"/>
                  </a:cubicBezTo>
                  <a:lnTo>
                    <a:pt x="4624" y="32"/>
                  </a:lnTo>
                  <a:cubicBezTo>
                    <a:pt x="4615" y="32"/>
                    <a:pt x="4608" y="25"/>
                    <a:pt x="4608" y="16"/>
                  </a:cubicBezTo>
                  <a:cubicBezTo>
                    <a:pt x="4608" y="7"/>
                    <a:pt x="4615" y="0"/>
                    <a:pt x="4624" y="0"/>
                  </a:cubicBezTo>
                  <a:close/>
                  <a:moveTo>
                    <a:pt x="5008" y="0"/>
                  </a:moveTo>
                  <a:lnTo>
                    <a:pt x="5232" y="0"/>
                  </a:lnTo>
                  <a:cubicBezTo>
                    <a:pt x="5241" y="0"/>
                    <a:pt x="5248" y="7"/>
                    <a:pt x="5248" y="16"/>
                  </a:cubicBezTo>
                  <a:cubicBezTo>
                    <a:pt x="5248" y="25"/>
                    <a:pt x="5241" y="32"/>
                    <a:pt x="5232" y="32"/>
                  </a:cubicBezTo>
                  <a:lnTo>
                    <a:pt x="5008" y="32"/>
                  </a:lnTo>
                  <a:cubicBezTo>
                    <a:pt x="4999" y="32"/>
                    <a:pt x="4992" y="25"/>
                    <a:pt x="4992" y="16"/>
                  </a:cubicBezTo>
                  <a:cubicBezTo>
                    <a:pt x="4992" y="7"/>
                    <a:pt x="4999" y="0"/>
                    <a:pt x="5008" y="0"/>
                  </a:cubicBezTo>
                  <a:close/>
                  <a:moveTo>
                    <a:pt x="5392" y="0"/>
                  </a:moveTo>
                  <a:lnTo>
                    <a:pt x="5616" y="0"/>
                  </a:lnTo>
                  <a:cubicBezTo>
                    <a:pt x="5625" y="0"/>
                    <a:pt x="5632" y="7"/>
                    <a:pt x="5632" y="16"/>
                  </a:cubicBezTo>
                  <a:cubicBezTo>
                    <a:pt x="5632" y="25"/>
                    <a:pt x="5625" y="32"/>
                    <a:pt x="5616" y="32"/>
                  </a:cubicBezTo>
                  <a:lnTo>
                    <a:pt x="5392" y="32"/>
                  </a:lnTo>
                  <a:cubicBezTo>
                    <a:pt x="5383" y="32"/>
                    <a:pt x="5376" y="25"/>
                    <a:pt x="5376" y="16"/>
                  </a:cubicBezTo>
                  <a:cubicBezTo>
                    <a:pt x="5376" y="7"/>
                    <a:pt x="5383" y="0"/>
                    <a:pt x="5392" y="0"/>
                  </a:cubicBezTo>
                  <a:close/>
                  <a:moveTo>
                    <a:pt x="5776" y="0"/>
                  </a:moveTo>
                  <a:lnTo>
                    <a:pt x="6000" y="0"/>
                  </a:lnTo>
                  <a:cubicBezTo>
                    <a:pt x="6009" y="0"/>
                    <a:pt x="6016" y="7"/>
                    <a:pt x="6016" y="16"/>
                  </a:cubicBezTo>
                  <a:cubicBezTo>
                    <a:pt x="6016" y="25"/>
                    <a:pt x="6009" y="32"/>
                    <a:pt x="6000" y="32"/>
                  </a:cubicBezTo>
                  <a:lnTo>
                    <a:pt x="5776" y="32"/>
                  </a:lnTo>
                  <a:cubicBezTo>
                    <a:pt x="5767" y="32"/>
                    <a:pt x="5760" y="25"/>
                    <a:pt x="5760" y="16"/>
                  </a:cubicBezTo>
                  <a:cubicBezTo>
                    <a:pt x="5760" y="7"/>
                    <a:pt x="5767" y="0"/>
                    <a:pt x="5776" y="0"/>
                  </a:cubicBezTo>
                  <a:close/>
                  <a:moveTo>
                    <a:pt x="6160" y="0"/>
                  </a:moveTo>
                  <a:lnTo>
                    <a:pt x="6384" y="0"/>
                  </a:lnTo>
                  <a:cubicBezTo>
                    <a:pt x="6393" y="0"/>
                    <a:pt x="6400" y="7"/>
                    <a:pt x="6400" y="16"/>
                  </a:cubicBezTo>
                  <a:cubicBezTo>
                    <a:pt x="6400" y="25"/>
                    <a:pt x="6393" y="32"/>
                    <a:pt x="6384" y="32"/>
                  </a:cubicBezTo>
                  <a:lnTo>
                    <a:pt x="6160" y="32"/>
                  </a:lnTo>
                  <a:cubicBezTo>
                    <a:pt x="6151" y="32"/>
                    <a:pt x="6144" y="25"/>
                    <a:pt x="6144" y="16"/>
                  </a:cubicBezTo>
                  <a:cubicBezTo>
                    <a:pt x="6144" y="7"/>
                    <a:pt x="6151" y="0"/>
                    <a:pt x="6160" y="0"/>
                  </a:cubicBezTo>
                  <a:close/>
                  <a:moveTo>
                    <a:pt x="6544" y="0"/>
                  </a:moveTo>
                  <a:lnTo>
                    <a:pt x="6768" y="0"/>
                  </a:lnTo>
                  <a:cubicBezTo>
                    <a:pt x="6777" y="0"/>
                    <a:pt x="6784" y="7"/>
                    <a:pt x="6784" y="16"/>
                  </a:cubicBezTo>
                  <a:cubicBezTo>
                    <a:pt x="6784" y="25"/>
                    <a:pt x="6777" y="32"/>
                    <a:pt x="6768" y="32"/>
                  </a:cubicBezTo>
                  <a:lnTo>
                    <a:pt x="6544" y="32"/>
                  </a:lnTo>
                  <a:cubicBezTo>
                    <a:pt x="6535" y="32"/>
                    <a:pt x="6528" y="25"/>
                    <a:pt x="6528" y="16"/>
                  </a:cubicBezTo>
                  <a:cubicBezTo>
                    <a:pt x="6528" y="7"/>
                    <a:pt x="6535" y="0"/>
                    <a:pt x="6544" y="0"/>
                  </a:cubicBezTo>
                  <a:close/>
                  <a:moveTo>
                    <a:pt x="6928" y="0"/>
                  </a:moveTo>
                  <a:lnTo>
                    <a:pt x="7152" y="0"/>
                  </a:lnTo>
                  <a:cubicBezTo>
                    <a:pt x="7161" y="0"/>
                    <a:pt x="7168" y="7"/>
                    <a:pt x="7168" y="16"/>
                  </a:cubicBezTo>
                  <a:cubicBezTo>
                    <a:pt x="7168" y="25"/>
                    <a:pt x="7161" y="32"/>
                    <a:pt x="7152" y="32"/>
                  </a:cubicBezTo>
                  <a:lnTo>
                    <a:pt x="6928" y="32"/>
                  </a:lnTo>
                  <a:cubicBezTo>
                    <a:pt x="6919" y="32"/>
                    <a:pt x="6912" y="25"/>
                    <a:pt x="6912" y="16"/>
                  </a:cubicBezTo>
                  <a:cubicBezTo>
                    <a:pt x="6912" y="7"/>
                    <a:pt x="6919" y="0"/>
                    <a:pt x="6928" y="0"/>
                  </a:cubicBezTo>
                  <a:close/>
                  <a:moveTo>
                    <a:pt x="7312" y="0"/>
                  </a:moveTo>
                  <a:lnTo>
                    <a:pt x="7536" y="0"/>
                  </a:lnTo>
                  <a:cubicBezTo>
                    <a:pt x="7545" y="0"/>
                    <a:pt x="7552" y="7"/>
                    <a:pt x="7552" y="16"/>
                  </a:cubicBezTo>
                  <a:cubicBezTo>
                    <a:pt x="7552" y="25"/>
                    <a:pt x="7545" y="32"/>
                    <a:pt x="7536" y="32"/>
                  </a:cubicBezTo>
                  <a:lnTo>
                    <a:pt x="7312" y="32"/>
                  </a:lnTo>
                  <a:cubicBezTo>
                    <a:pt x="7303" y="32"/>
                    <a:pt x="7296" y="25"/>
                    <a:pt x="7296" y="16"/>
                  </a:cubicBezTo>
                  <a:cubicBezTo>
                    <a:pt x="7296" y="7"/>
                    <a:pt x="7303" y="0"/>
                    <a:pt x="7312" y="0"/>
                  </a:cubicBezTo>
                  <a:close/>
                  <a:moveTo>
                    <a:pt x="7696" y="0"/>
                  </a:moveTo>
                  <a:lnTo>
                    <a:pt x="7920" y="0"/>
                  </a:lnTo>
                  <a:cubicBezTo>
                    <a:pt x="7929" y="0"/>
                    <a:pt x="7936" y="7"/>
                    <a:pt x="7936" y="16"/>
                  </a:cubicBezTo>
                  <a:cubicBezTo>
                    <a:pt x="7936" y="25"/>
                    <a:pt x="7929" y="32"/>
                    <a:pt x="7920" y="32"/>
                  </a:cubicBezTo>
                  <a:lnTo>
                    <a:pt x="7696" y="32"/>
                  </a:lnTo>
                  <a:cubicBezTo>
                    <a:pt x="7687" y="32"/>
                    <a:pt x="7680" y="25"/>
                    <a:pt x="7680" y="16"/>
                  </a:cubicBezTo>
                  <a:cubicBezTo>
                    <a:pt x="7680" y="7"/>
                    <a:pt x="7687" y="0"/>
                    <a:pt x="7696" y="0"/>
                  </a:cubicBezTo>
                  <a:close/>
                  <a:moveTo>
                    <a:pt x="8080" y="0"/>
                  </a:moveTo>
                  <a:lnTo>
                    <a:pt x="8299" y="0"/>
                  </a:lnTo>
                  <a:cubicBezTo>
                    <a:pt x="8307" y="0"/>
                    <a:pt x="8315" y="7"/>
                    <a:pt x="8315" y="16"/>
                  </a:cubicBezTo>
                  <a:lnTo>
                    <a:pt x="8315" y="21"/>
                  </a:lnTo>
                  <a:cubicBezTo>
                    <a:pt x="8315" y="30"/>
                    <a:pt x="8307" y="37"/>
                    <a:pt x="8299" y="37"/>
                  </a:cubicBezTo>
                  <a:cubicBezTo>
                    <a:pt x="8290" y="37"/>
                    <a:pt x="8283" y="30"/>
                    <a:pt x="8283" y="21"/>
                  </a:cubicBezTo>
                  <a:lnTo>
                    <a:pt x="8283" y="16"/>
                  </a:lnTo>
                  <a:lnTo>
                    <a:pt x="8299" y="32"/>
                  </a:lnTo>
                  <a:lnTo>
                    <a:pt x="8080" y="32"/>
                  </a:lnTo>
                  <a:cubicBezTo>
                    <a:pt x="8071" y="32"/>
                    <a:pt x="8064" y="25"/>
                    <a:pt x="8064" y="16"/>
                  </a:cubicBezTo>
                  <a:cubicBezTo>
                    <a:pt x="8064" y="7"/>
                    <a:pt x="8071" y="0"/>
                    <a:pt x="8080" y="0"/>
                  </a:cubicBezTo>
                  <a:close/>
                  <a:moveTo>
                    <a:pt x="8315" y="181"/>
                  </a:moveTo>
                  <a:lnTo>
                    <a:pt x="8315" y="405"/>
                  </a:lnTo>
                  <a:cubicBezTo>
                    <a:pt x="8315" y="414"/>
                    <a:pt x="8307" y="421"/>
                    <a:pt x="8299" y="421"/>
                  </a:cubicBezTo>
                  <a:cubicBezTo>
                    <a:pt x="8290" y="421"/>
                    <a:pt x="8283" y="414"/>
                    <a:pt x="8283" y="405"/>
                  </a:cubicBezTo>
                  <a:lnTo>
                    <a:pt x="8283" y="181"/>
                  </a:lnTo>
                  <a:cubicBezTo>
                    <a:pt x="8283" y="172"/>
                    <a:pt x="8290" y="165"/>
                    <a:pt x="8299" y="165"/>
                  </a:cubicBezTo>
                  <a:cubicBezTo>
                    <a:pt x="8307" y="165"/>
                    <a:pt x="8315" y="172"/>
                    <a:pt x="8315" y="181"/>
                  </a:cubicBezTo>
                  <a:close/>
                  <a:moveTo>
                    <a:pt x="8315" y="565"/>
                  </a:moveTo>
                  <a:lnTo>
                    <a:pt x="8315" y="774"/>
                  </a:lnTo>
                  <a:cubicBezTo>
                    <a:pt x="8315" y="783"/>
                    <a:pt x="8307" y="790"/>
                    <a:pt x="8299" y="790"/>
                  </a:cubicBezTo>
                  <a:cubicBezTo>
                    <a:pt x="8290" y="790"/>
                    <a:pt x="8283" y="783"/>
                    <a:pt x="8283" y="774"/>
                  </a:cubicBezTo>
                  <a:lnTo>
                    <a:pt x="8283" y="565"/>
                  </a:lnTo>
                  <a:cubicBezTo>
                    <a:pt x="8283" y="556"/>
                    <a:pt x="8290" y="549"/>
                    <a:pt x="8299" y="549"/>
                  </a:cubicBezTo>
                  <a:cubicBezTo>
                    <a:pt x="8307" y="549"/>
                    <a:pt x="8315" y="556"/>
                    <a:pt x="8315" y="565"/>
                  </a:cubicBezTo>
                  <a:close/>
                </a:path>
              </a:pathLst>
            </a:custGeom>
            <a:solidFill>
              <a:srgbClr val="000000"/>
            </a:solidFill>
            <a:ln w="1588"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2">
              <a:extLst>
                <a:ext uri="{FF2B5EF4-FFF2-40B4-BE49-F238E27FC236}">
                  <a16:creationId xmlns:a16="http://schemas.microsoft.com/office/drawing/2014/main" id="{0F4B465F-01D9-4E6F-90BE-936B970DE605}"/>
                </a:ext>
              </a:extLst>
            </p:cNvPr>
            <p:cNvSpPr>
              <a:spLocks/>
            </p:cNvSpPr>
            <p:nvPr/>
          </p:nvSpPr>
          <p:spPr bwMode="auto">
            <a:xfrm>
              <a:off x="9591675" y="3754438"/>
              <a:ext cx="123825" cy="125413"/>
            </a:xfrm>
            <a:custGeom>
              <a:avLst/>
              <a:gdLst>
                <a:gd name="T0" fmla="*/ 140 w 279"/>
                <a:gd name="T1" fmla="*/ 279 h 279"/>
                <a:gd name="T2" fmla="*/ 0 w 279"/>
                <a:gd name="T3" fmla="*/ 0 h 279"/>
                <a:gd name="T4" fmla="*/ 279 w 279"/>
                <a:gd name="T5" fmla="*/ 0 h 279"/>
                <a:gd name="T6" fmla="*/ 140 w 279"/>
                <a:gd name="T7" fmla="*/ 279 h 279"/>
              </a:gdLst>
              <a:ahLst/>
              <a:cxnLst>
                <a:cxn ang="0">
                  <a:pos x="T0" y="T1"/>
                </a:cxn>
                <a:cxn ang="0">
                  <a:pos x="T2" y="T3"/>
                </a:cxn>
                <a:cxn ang="0">
                  <a:pos x="T4" y="T5"/>
                </a:cxn>
                <a:cxn ang="0">
                  <a:pos x="T6" y="T7"/>
                </a:cxn>
              </a:cxnLst>
              <a:rect l="0" t="0" r="r" b="b"/>
              <a:pathLst>
                <a:path w="279" h="279">
                  <a:moveTo>
                    <a:pt x="140" y="279"/>
                  </a:moveTo>
                  <a:lnTo>
                    <a:pt x="0" y="0"/>
                  </a:lnTo>
                  <a:cubicBezTo>
                    <a:pt x="88" y="44"/>
                    <a:pt x="191" y="44"/>
                    <a:pt x="279" y="0"/>
                  </a:cubicBezTo>
                  <a:lnTo>
                    <a:pt x="140" y="27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Oval 29">
              <a:extLst>
                <a:ext uri="{FF2B5EF4-FFF2-40B4-BE49-F238E27FC236}">
                  <a16:creationId xmlns:a16="http://schemas.microsoft.com/office/drawing/2014/main" id="{9F74CAF2-127C-4AD7-9079-6CB22F359C6F}"/>
                </a:ext>
              </a:extLst>
            </p:cNvPr>
            <p:cNvSpPr>
              <a:spLocks noChangeArrowheads="1"/>
            </p:cNvSpPr>
            <p:nvPr/>
          </p:nvSpPr>
          <p:spPr bwMode="auto">
            <a:xfrm>
              <a:off x="6026150" y="3611563"/>
              <a:ext cx="398463" cy="377825"/>
            </a:xfrm>
            <a:prstGeom prst="ellipse">
              <a:avLst/>
            </a:prstGeom>
            <a:solidFill>
              <a:srgbClr val="20586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Oval 30">
              <a:extLst>
                <a:ext uri="{FF2B5EF4-FFF2-40B4-BE49-F238E27FC236}">
                  <a16:creationId xmlns:a16="http://schemas.microsoft.com/office/drawing/2014/main" id="{45B70CE0-3E5C-4A6A-9856-C8885018AFE3}"/>
                </a:ext>
              </a:extLst>
            </p:cNvPr>
            <p:cNvSpPr>
              <a:spLocks noChangeArrowheads="1"/>
            </p:cNvSpPr>
            <p:nvPr/>
          </p:nvSpPr>
          <p:spPr bwMode="auto">
            <a:xfrm>
              <a:off x="6026150" y="3611563"/>
              <a:ext cx="398463" cy="377825"/>
            </a:xfrm>
            <a:prstGeom prst="ellipse">
              <a:avLst/>
            </a:prstGeom>
            <a:noFill/>
            <a:ln w="142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Rectangle 31">
              <a:extLst>
                <a:ext uri="{FF2B5EF4-FFF2-40B4-BE49-F238E27FC236}">
                  <a16:creationId xmlns:a16="http://schemas.microsoft.com/office/drawing/2014/main" id="{70524BB7-B37E-4718-967F-1FE34A71D0D2}"/>
                </a:ext>
              </a:extLst>
            </p:cNvPr>
            <p:cNvSpPr>
              <a:spLocks noChangeArrowheads="1"/>
            </p:cNvSpPr>
            <p:nvPr/>
          </p:nvSpPr>
          <p:spPr bwMode="auto">
            <a:xfrm>
              <a:off x="6142038" y="3576638"/>
              <a:ext cx="371475" cy="53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700" b="1" i="0" u="none" strike="noStrike" cap="none" normalizeH="0" baseline="0">
                  <a:ln>
                    <a:noFill/>
                  </a:ln>
                  <a:solidFill>
                    <a:srgbClr val="FFFFFF"/>
                  </a:solidFill>
                  <a:effectLst/>
                  <a:latin typeface="Calibri" panose="020F0502020204030204" pitchFamily="34" charset="0"/>
                </a:rPr>
                <a:t>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1" name="Rectangle 44">
              <a:extLst>
                <a:ext uri="{FF2B5EF4-FFF2-40B4-BE49-F238E27FC236}">
                  <a16:creationId xmlns:a16="http://schemas.microsoft.com/office/drawing/2014/main" id="{05DC2F25-13E6-4CC4-93DC-7DDEB29BF449}"/>
                </a:ext>
              </a:extLst>
            </p:cNvPr>
            <p:cNvSpPr>
              <a:spLocks noChangeArrowheads="1"/>
            </p:cNvSpPr>
            <p:nvPr/>
          </p:nvSpPr>
          <p:spPr bwMode="auto">
            <a:xfrm>
              <a:off x="6142038" y="3238501"/>
              <a:ext cx="3438525"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a:ln>
                    <a:noFill/>
                  </a:ln>
                  <a:solidFill>
                    <a:srgbClr val="000000"/>
                  </a:solidFill>
                  <a:effectLst/>
                  <a:latin typeface="Segoe UI" panose="020B0502040204020203" pitchFamily="34" charset="0"/>
                </a:rPr>
                <a:t>automatically applies retention policies to the scop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2" name="Rectangle 45">
              <a:extLst>
                <a:ext uri="{FF2B5EF4-FFF2-40B4-BE49-F238E27FC236}">
                  <a16:creationId xmlns:a16="http://schemas.microsoft.com/office/drawing/2014/main" id="{14B65579-FC85-4455-AE0F-B674FC6CEFFE}"/>
                </a:ext>
              </a:extLst>
            </p:cNvPr>
            <p:cNvSpPr>
              <a:spLocks noChangeArrowheads="1"/>
            </p:cNvSpPr>
            <p:nvPr/>
          </p:nvSpPr>
          <p:spPr bwMode="auto">
            <a:xfrm>
              <a:off x="6319838" y="3424238"/>
              <a:ext cx="3081338"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rgbClr val="000000"/>
                  </a:solidFill>
                  <a:effectLst/>
                  <a:latin typeface="Segoe UI" panose="020B0502040204020203" pitchFamily="34" charset="0"/>
                </a:rPr>
                <a:t>automatically propagates to the scope conten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pic>
        <p:nvPicPr>
          <p:cNvPr id="4" name="Picture 3">
            <a:extLst>
              <a:ext uri="{FF2B5EF4-FFF2-40B4-BE49-F238E27FC236}">
                <a16:creationId xmlns:a16="http://schemas.microsoft.com/office/drawing/2014/main" id="{2F7984EA-C30E-6C69-E6C4-60A49CD1EA5B}"/>
              </a:ext>
            </a:extLst>
          </p:cNvPr>
          <p:cNvPicPr>
            <a:picLocks noChangeAspect="1"/>
          </p:cNvPicPr>
          <p:nvPr/>
        </p:nvPicPr>
        <p:blipFill>
          <a:blip r:embed="rId2"/>
          <a:stretch>
            <a:fillRect/>
          </a:stretch>
        </p:blipFill>
        <p:spPr>
          <a:xfrm>
            <a:off x="4488656" y="785813"/>
            <a:ext cx="3936207" cy="3028950"/>
          </a:xfrm>
          <a:prstGeom prst="rect">
            <a:avLst/>
          </a:prstGeom>
        </p:spPr>
      </p:pic>
      <p:pic>
        <p:nvPicPr>
          <p:cNvPr id="8" name="Picture 7">
            <a:extLst>
              <a:ext uri="{FF2B5EF4-FFF2-40B4-BE49-F238E27FC236}">
                <a16:creationId xmlns:a16="http://schemas.microsoft.com/office/drawing/2014/main" id="{AF480F40-84AC-7C32-9A93-52CC1D579656}"/>
              </a:ext>
            </a:extLst>
          </p:cNvPr>
          <p:cNvPicPr>
            <a:picLocks noChangeAspect="1"/>
          </p:cNvPicPr>
          <p:nvPr/>
        </p:nvPicPr>
        <p:blipFill>
          <a:blip r:embed="rId3"/>
          <a:stretch>
            <a:fillRect/>
          </a:stretch>
        </p:blipFill>
        <p:spPr>
          <a:xfrm>
            <a:off x="1687115" y="764088"/>
            <a:ext cx="2507457" cy="3014663"/>
          </a:xfrm>
          <a:prstGeom prst="rect">
            <a:avLst/>
          </a:prstGeom>
        </p:spPr>
      </p:pic>
    </p:spTree>
    <p:extLst>
      <p:ext uri="{BB962C8B-B14F-4D97-AF65-F5344CB8AC3E}">
        <p14:creationId xmlns:p14="http://schemas.microsoft.com/office/powerpoint/2010/main" val="3513063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1000"/>
                                        <p:tgtEl>
                                          <p:spTgt spid="2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wipe(left)">
                                      <p:cBhvr>
                                        <p:cTn id="22" dur="1000"/>
                                        <p:tgtEl>
                                          <p:spTgt spid="40"/>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72"/>
                                        </p:tgtEl>
                                        <p:attrNameLst>
                                          <p:attrName>style.visibility</p:attrName>
                                        </p:attrNameLst>
                                      </p:cBhvr>
                                      <p:to>
                                        <p:strVal val="visible"/>
                                      </p:to>
                                    </p:set>
                                    <p:animEffect transition="in" filter="wipe(up)">
                                      <p:cBhvr>
                                        <p:cTn id="27" dur="500"/>
                                        <p:tgtEl>
                                          <p:spTgt spid="72"/>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77"/>
                                        </p:tgtEl>
                                        <p:attrNameLst>
                                          <p:attrName>style.visibility</p:attrName>
                                        </p:attrNameLst>
                                      </p:cBhvr>
                                      <p:to>
                                        <p:strVal val="visible"/>
                                      </p:to>
                                    </p:set>
                                    <p:animEffect transition="in" filter="wipe(left)">
                                      <p:cBhvr>
                                        <p:cTn id="32" dur="1000"/>
                                        <p:tgtEl>
                                          <p:spTgt spid="77"/>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85"/>
                                        </p:tgtEl>
                                        <p:attrNameLst>
                                          <p:attrName>style.visibility</p:attrName>
                                        </p:attrNameLst>
                                      </p:cBhvr>
                                      <p:to>
                                        <p:strVal val="visible"/>
                                      </p:to>
                                    </p:set>
                                    <p:animEffect transition="in" filter="wipe(left)">
                                      <p:cBhvr>
                                        <p:cTn id="37" dur="10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Information Governance </a:t>
            </a:r>
            <a:r>
              <a:rPr kumimoji="0" lang="en-US" sz="2000" b="0" i="0" u="none" strike="noStrike" kern="1200" cap="none" spc="0" normalizeH="0" baseline="0" noProof="0" dirty="0">
                <a:ln>
                  <a:noFill/>
                </a:ln>
                <a:solidFill>
                  <a:srgbClr val="FFFFFF"/>
                </a:solidFill>
                <a:effectLst/>
                <a:uLnTx/>
                <a:uFillTx/>
                <a:latin typeface="Segoe UI"/>
                <a:ea typeface="+mn-ea"/>
                <a:cs typeface="+mn-cs"/>
              </a:rPr>
              <a:t>– Context</a:t>
            </a:r>
          </a:p>
        </p:txBody>
      </p:sp>
      <p:sp>
        <p:nvSpPr>
          <p:cNvPr id="124" name="Rectangle 106">
            <a:extLst>
              <a:ext uri="{FF2B5EF4-FFF2-40B4-BE49-F238E27FC236}">
                <a16:creationId xmlns:a16="http://schemas.microsoft.com/office/drawing/2014/main" id="{62790CC3-C0A1-4CF7-A921-FA001263EFF8}"/>
              </a:ext>
            </a:extLst>
          </p:cNvPr>
          <p:cNvSpPr>
            <a:spLocks noChangeArrowheads="1"/>
          </p:cNvSpPr>
          <p:nvPr/>
        </p:nvSpPr>
        <p:spPr bwMode="auto">
          <a:xfrm>
            <a:off x="8661654" y="85919"/>
            <a:ext cx="3460884"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600" b="1" i="0" u="none" strike="noStrike" cap="none" normalizeH="0" baseline="0" dirty="0">
                <a:ln>
                  <a:noFill/>
                </a:ln>
                <a:solidFill>
                  <a:srgbClr val="205867"/>
                </a:solidFill>
                <a:effectLst/>
                <a:latin typeface="Segoe UI" panose="020B0502040204020203" pitchFamily="34" charset="0"/>
              </a:rPr>
              <a:t>Apply Rules : E3</a:t>
            </a:r>
            <a:endParaRPr kumimoji="0" lang="en-US" altLang="en-US" sz="3200" b="0" i="0" u="none" strike="noStrike" cap="none" normalizeH="0" baseline="0" dirty="0">
              <a:ln>
                <a:noFill/>
              </a:ln>
              <a:solidFill>
                <a:schemeClr val="tx1"/>
              </a:solidFill>
              <a:effectLst/>
              <a:latin typeface="Arial" panose="020B0604020202020204" pitchFamily="34" charset="0"/>
            </a:endParaRPr>
          </a:p>
        </p:txBody>
      </p:sp>
      <p:pic>
        <p:nvPicPr>
          <p:cNvPr id="3" name="Picture 2">
            <a:extLst>
              <a:ext uri="{FF2B5EF4-FFF2-40B4-BE49-F238E27FC236}">
                <a16:creationId xmlns:a16="http://schemas.microsoft.com/office/drawing/2014/main" id="{5DF4367A-B8F4-2C14-2892-63203D9FA319}"/>
              </a:ext>
            </a:extLst>
          </p:cNvPr>
          <p:cNvPicPr>
            <a:picLocks noChangeAspect="1"/>
          </p:cNvPicPr>
          <p:nvPr/>
        </p:nvPicPr>
        <p:blipFill>
          <a:blip r:embed="rId2"/>
          <a:stretch>
            <a:fillRect/>
          </a:stretch>
        </p:blipFill>
        <p:spPr>
          <a:xfrm>
            <a:off x="2800981" y="964627"/>
            <a:ext cx="7406640" cy="5114926"/>
          </a:xfrm>
          <a:prstGeom prst="rect">
            <a:avLst/>
          </a:prstGeom>
        </p:spPr>
      </p:pic>
    </p:spTree>
    <p:extLst>
      <p:ext uri="{BB962C8B-B14F-4D97-AF65-F5344CB8AC3E}">
        <p14:creationId xmlns:p14="http://schemas.microsoft.com/office/powerpoint/2010/main" val="29909373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Information Governance </a:t>
            </a:r>
            <a:r>
              <a:rPr kumimoji="0" lang="en-US" sz="2000" b="0" i="0" u="none" strike="noStrike" kern="1200" cap="none" spc="0" normalizeH="0" baseline="0" noProof="0" dirty="0">
                <a:ln>
                  <a:noFill/>
                </a:ln>
                <a:solidFill>
                  <a:srgbClr val="FFFFFF"/>
                </a:solidFill>
                <a:effectLst/>
                <a:uLnTx/>
                <a:uFillTx/>
                <a:latin typeface="Segoe UI"/>
                <a:ea typeface="+mn-ea"/>
                <a:cs typeface="+mn-cs"/>
              </a:rPr>
              <a:t>– Context</a:t>
            </a:r>
          </a:p>
        </p:txBody>
      </p:sp>
      <p:sp>
        <p:nvSpPr>
          <p:cNvPr id="223" name="Rectangle 106">
            <a:extLst>
              <a:ext uri="{FF2B5EF4-FFF2-40B4-BE49-F238E27FC236}">
                <a16:creationId xmlns:a16="http://schemas.microsoft.com/office/drawing/2014/main" id="{FA783E3E-D3D1-4F92-8BC7-67BE22B33909}"/>
              </a:ext>
            </a:extLst>
          </p:cNvPr>
          <p:cNvSpPr>
            <a:spLocks noChangeArrowheads="1"/>
          </p:cNvSpPr>
          <p:nvPr/>
        </p:nvSpPr>
        <p:spPr bwMode="auto">
          <a:xfrm>
            <a:off x="8661654" y="85919"/>
            <a:ext cx="3460884"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600" b="1" i="0" u="none" strike="noStrike" cap="none" normalizeH="0" baseline="0" dirty="0">
                <a:ln>
                  <a:noFill/>
                </a:ln>
                <a:solidFill>
                  <a:srgbClr val="205867"/>
                </a:solidFill>
                <a:effectLst/>
                <a:latin typeface="Segoe UI" panose="020B0502040204020203" pitchFamily="34" charset="0"/>
              </a:rPr>
              <a:t>Apply Rules : E5</a:t>
            </a:r>
            <a:endParaRPr kumimoji="0" lang="en-US" altLang="en-US" sz="3200" b="0" i="0" u="none" strike="noStrike" cap="none" normalizeH="0" baseline="0" dirty="0">
              <a:ln>
                <a:noFill/>
              </a:ln>
              <a:solidFill>
                <a:schemeClr val="tx1"/>
              </a:solidFill>
              <a:effectLst/>
              <a:latin typeface="Arial" panose="020B0604020202020204" pitchFamily="34" charset="0"/>
            </a:endParaRPr>
          </a:p>
        </p:txBody>
      </p:sp>
      <p:pic>
        <p:nvPicPr>
          <p:cNvPr id="3" name="Picture 2">
            <a:extLst>
              <a:ext uri="{FF2B5EF4-FFF2-40B4-BE49-F238E27FC236}">
                <a16:creationId xmlns:a16="http://schemas.microsoft.com/office/drawing/2014/main" id="{50B60556-D648-4DC2-8565-C839BA763AD8}"/>
              </a:ext>
            </a:extLst>
          </p:cNvPr>
          <p:cNvPicPr>
            <a:picLocks noChangeAspect="1"/>
          </p:cNvPicPr>
          <p:nvPr/>
        </p:nvPicPr>
        <p:blipFill>
          <a:blip r:embed="rId3"/>
          <a:stretch>
            <a:fillRect/>
          </a:stretch>
        </p:blipFill>
        <p:spPr>
          <a:xfrm>
            <a:off x="1208082" y="1098625"/>
            <a:ext cx="2005966" cy="2577466"/>
          </a:xfrm>
          <a:prstGeom prst="rect">
            <a:avLst/>
          </a:prstGeom>
        </p:spPr>
      </p:pic>
      <p:pic>
        <p:nvPicPr>
          <p:cNvPr id="5" name="Picture 4">
            <a:extLst>
              <a:ext uri="{FF2B5EF4-FFF2-40B4-BE49-F238E27FC236}">
                <a16:creationId xmlns:a16="http://schemas.microsoft.com/office/drawing/2014/main" id="{367D4083-3FAC-44A9-BC27-69AFA15BE76A}"/>
              </a:ext>
            </a:extLst>
          </p:cNvPr>
          <p:cNvPicPr>
            <a:picLocks noChangeAspect="1"/>
          </p:cNvPicPr>
          <p:nvPr/>
        </p:nvPicPr>
        <p:blipFill>
          <a:blip r:embed="rId4"/>
          <a:stretch>
            <a:fillRect/>
          </a:stretch>
        </p:blipFill>
        <p:spPr>
          <a:xfrm>
            <a:off x="6136000" y="3730591"/>
            <a:ext cx="2920366" cy="2446020"/>
          </a:xfrm>
          <a:prstGeom prst="rect">
            <a:avLst/>
          </a:prstGeom>
        </p:spPr>
      </p:pic>
      <p:pic>
        <p:nvPicPr>
          <p:cNvPr id="8" name="Picture 7">
            <a:extLst>
              <a:ext uri="{FF2B5EF4-FFF2-40B4-BE49-F238E27FC236}">
                <a16:creationId xmlns:a16="http://schemas.microsoft.com/office/drawing/2014/main" id="{31759D74-C053-4957-B19C-8251CB366574}"/>
              </a:ext>
            </a:extLst>
          </p:cNvPr>
          <p:cNvPicPr>
            <a:picLocks noChangeAspect="1"/>
          </p:cNvPicPr>
          <p:nvPr/>
        </p:nvPicPr>
        <p:blipFill>
          <a:blip r:embed="rId5"/>
          <a:stretch>
            <a:fillRect/>
          </a:stretch>
        </p:blipFill>
        <p:spPr>
          <a:xfrm>
            <a:off x="3413591" y="1074188"/>
            <a:ext cx="3143250" cy="2588896"/>
          </a:xfrm>
          <a:prstGeom prst="rect">
            <a:avLst/>
          </a:prstGeom>
        </p:spPr>
      </p:pic>
      <p:pic>
        <p:nvPicPr>
          <p:cNvPr id="10" name="Picture 9">
            <a:extLst>
              <a:ext uri="{FF2B5EF4-FFF2-40B4-BE49-F238E27FC236}">
                <a16:creationId xmlns:a16="http://schemas.microsoft.com/office/drawing/2014/main" id="{2460F973-067B-4E56-B187-32BF1A7BDD7F}"/>
              </a:ext>
            </a:extLst>
          </p:cNvPr>
          <p:cNvPicPr>
            <a:picLocks noChangeAspect="1"/>
          </p:cNvPicPr>
          <p:nvPr/>
        </p:nvPicPr>
        <p:blipFill>
          <a:blip r:embed="rId6"/>
          <a:stretch>
            <a:fillRect/>
          </a:stretch>
        </p:blipFill>
        <p:spPr>
          <a:xfrm>
            <a:off x="3616378" y="1832991"/>
            <a:ext cx="5343526" cy="1337310"/>
          </a:xfrm>
          <a:prstGeom prst="rect">
            <a:avLst/>
          </a:prstGeom>
        </p:spPr>
      </p:pic>
      <p:pic>
        <p:nvPicPr>
          <p:cNvPr id="14" name="Picture 13">
            <a:extLst>
              <a:ext uri="{FF2B5EF4-FFF2-40B4-BE49-F238E27FC236}">
                <a16:creationId xmlns:a16="http://schemas.microsoft.com/office/drawing/2014/main" id="{68045BAB-7B5D-4F5C-9331-4A18ADEB42DC}"/>
              </a:ext>
            </a:extLst>
          </p:cNvPr>
          <p:cNvPicPr>
            <a:picLocks noChangeAspect="1"/>
          </p:cNvPicPr>
          <p:nvPr/>
        </p:nvPicPr>
        <p:blipFill>
          <a:blip r:embed="rId7"/>
          <a:stretch>
            <a:fillRect/>
          </a:stretch>
        </p:blipFill>
        <p:spPr>
          <a:xfrm>
            <a:off x="7825517" y="2417520"/>
            <a:ext cx="2406016" cy="2668906"/>
          </a:xfrm>
          <a:prstGeom prst="rect">
            <a:avLst/>
          </a:prstGeom>
        </p:spPr>
      </p:pic>
      <p:pic>
        <p:nvPicPr>
          <p:cNvPr id="16" name="Picture 15">
            <a:extLst>
              <a:ext uri="{FF2B5EF4-FFF2-40B4-BE49-F238E27FC236}">
                <a16:creationId xmlns:a16="http://schemas.microsoft.com/office/drawing/2014/main" id="{F7E275C9-3D88-46C3-9532-71C4D0552609}"/>
              </a:ext>
            </a:extLst>
          </p:cNvPr>
          <p:cNvPicPr>
            <a:picLocks noChangeAspect="1"/>
          </p:cNvPicPr>
          <p:nvPr/>
        </p:nvPicPr>
        <p:blipFill>
          <a:blip r:embed="rId8"/>
          <a:stretch>
            <a:fillRect/>
          </a:stretch>
        </p:blipFill>
        <p:spPr>
          <a:xfrm>
            <a:off x="7472250" y="4545333"/>
            <a:ext cx="4343400" cy="982980"/>
          </a:xfrm>
          <a:prstGeom prst="rect">
            <a:avLst/>
          </a:prstGeom>
        </p:spPr>
      </p:pic>
      <p:pic>
        <p:nvPicPr>
          <p:cNvPr id="20" name="Picture 19">
            <a:extLst>
              <a:ext uri="{FF2B5EF4-FFF2-40B4-BE49-F238E27FC236}">
                <a16:creationId xmlns:a16="http://schemas.microsoft.com/office/drawing/2014/main" id="{3BEA6CAE-7966-4C35-B676-188ACD907BAB}"/>
              </a:ext>
            </a:extLst>
          </p:cNvPr>
          <p:cNvPicPr>
            <a:picLocks noChangeAspect="1"/>
          </p:cNvPicPr>
          <p:nvPr/>
        </p:nvPicPr>
        <p:blipFill>
          <a:blip r:embed="rId9"/>
          <a:stretch>
            <a:fillRect/>
          </a:stretch>
        </p:blipFill>
        <p:spPr>
          <a:xfrm>
            <a:off x="3532804" y="3629853"/>
            <a:ext cx="5280660" cy="2417446"/>
          </a:xfrm>
          <a:prstGeom prst="rect">
            <a:avLst/>
          </a:prstGeom>
        </p:spPr>
      </p:pic>
      <p:pic>
        <p:nvPicPr>
          <p:cNvPr id="22" name="Picture 21">
            <a:extLst>
              <a:ext uri="{FF2B5EF4-FFF2-40B4-BE49-F238E27FC236}">
                <a16:creationId xmlns:a16="http://schemas.microsoft.com/office/drawing/2014/main" id="{C5119A7C-3612-43F2-9CB0-AF548027A8D6}"/>
              </a:ext>
            </a:extLst>
          </p:cNvPr>
          <p:cNvPicPr>
            <a:picLocks noChangeAspect="1"/>
          </p:cNvPicPr>
          <p:nvPr/>
        </p:nvPicPr>
        <p:blipFill>
          <a:blip r:embed="rId10"/>
          <a:stretch>
            <a:fillRect/>
          </a:stretch>
        </p:blipFill>
        <p:spPr>
          <a:xfrm>
            <a:off x="4594528" y="3108202"/>
            <a:ext cx="3120390" cy="840106"/>
          </a:xfrm>
          <a:prstGeom prst="rect">
            <a:avLst/>
          </a:prstGeom>
        </p:spPr>
      </p:pic>
      <p:pic>
        <p:nvPicPr>
          <p:cNvPr id="4" name="Picture 3">
            <a:extLst>
              <a:ext uri="{FF2B5EF4-FFF2-40B4-BE49-F238E27FC236}">
                <a16:creationId xmlns:a16="http://schemas.microsoft.com/office/drawing/2014/main" id="{522114A0-F0DF-F560-00FB-E9B711788092}"/>
              </a:ext>
            </a:extLst>
          </p:cNvPr>
          <p:cNvPicPr>
            <a:picLocks noChangeAspect="1"/>
          </p:cNvPicPr>
          <p:nvPr/>
        </p:nvPicPr>
        <p:blipFill>
          <a:blip r:embed="rId11"/>
          <a:stretch>
            <a:fillRect/>
          </a:stretch>
        </p:blipFill>
        <p:spPr>
          <a:xfrm>
            <a:off x="3413127" y="3141438"/>
            <a:ext cx="1194436" cy="520066"/>
          </a:xfrm>
          <a:prstGeom prst="rect">
            <a:avLst/>
          </a:prstGeom>
        </p:spPr>
      </p:pic>
    </p:spTree>
    <p:extLst>
      <p:ext uri="{BB962C8B-B14F-4D97-AF65-F5344CB8AC3E}">
        <p14:creationId xmlns:p14="http://schemas.microsoft.com/office/powerpoint/2010/main" val="1600082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10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wipe(left)">
                                      <p:cBhvr>
                                        <p:cTn id="27" dur="1000"/>
                                        <p:tgtEl>
                                          <p:spTgt spid="10"/>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wipe(up)">
                                      <p:cBhvr>
                                        <p:cTn id="32" dur="1000"/>
                                        <p:tgtEl>
                                          <p:spTgt spid="14"/>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wipe(left)">
                                      <p:cBhvr>
                                        <p:cTn id="37" dur="1000"/>
                                        <p:tgtEl>
                                          <p:spTgt spid="16"/>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wipe(left)">
                                      <p:cBhvr>
                                        <p:cTn id="42" dur="1000"/>
                                        <p:tgtEl>
                                          <p:spTgt spid="20"/>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nodeType="clickEffect">
                                  <p:stCondLst>
                                    <p:cond delay="0"/>
                                  </p:stCondLst>
                                  <p:childTnLst>
                                    <p:set>
                                      <p:cBhvr>
                                        <p:cTn id="46" dur="1" fill="hold">
                                          <p:stCondLst>
                                            <p:cond delay="0"/>
                                          </p:stCondLst>
                                        </p:cTn>
                                        <p:tgtEl>
                                          <p:spTgt spid="22"/>
                                        </p:tgtEl>
                                        <p:attrNameLst>
                                          <p:attrName>style.visibility</p:attrName>
                                        </p:attrNameLst>
                                      </p:cBhvr>
                                      <p:to>
                                        <p:strVal val="visible"/>
                                      </p:to>
                                    </p:set>
                                    <p:animEffect transition="in" filter="wipe(left)">
                                      <p:cBhvr>
                                        <p:cTn id="47"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Group 56">
            <a:extLst>
              <a:ext uri="{FF2B5EF4-FFF2-40B4-BE49-F238E27FC236}">
                <a16:creationId xmlns:a16="http://schemas.microsoft.com/office/drawing/2014/main" id="{04859BD7-041D-40C3-A887-03BD968BEDEE}"/>
              </a:ext>
            </a:extLst>
          </p:cNvPr>
          <p:cNvGrpSpPr/>
          <p:nvPr/>
        </p:nvGrpSpPr>
        <p:grpSpPr>
          <a:xfrm>
            <a:off x="4203700" y="2986088"/>
            <a:ext cx="1619251" cy="3779838"/>
            <a:chOff x="4203700" y="2986088"/>
            <a:chExt cx="1619251" cy="3779838"/>
          </a:xfrm>
        </p:grpSpPr>
        <p:sp>
          <p:nvSpPr>
            <p:cNvPr id="58" name="Rectangle 158">
              <a:extLst>
                <a:ext uri="{FF2B5EF4-FFF2-40B4-BE49-F238E27FC236}">
                  <a16:creationId xmlns:a16="http://schemas.microsoft.com/office/drawing/2014/main" id="{4C51A5D5-889A-4371-8D9A-6A4C1268D8F5}"/>
                </a:ext>
              </a:extLst>
            </p:cNvPr>
            <p:cNvSpPr>
              <a:spLocks noChangeArrowheads="1"/>
            </p:cNvSpPr>
            <p:nvPr/>
          </p:nvSpPr>
          <p:spPr bwMode="auto">
            <a:xfrm>
              <a:off x="4203700" y="4011613"/>
              <a:ext cx="1604963" cy="2754313"/>
            </a:xfrm>
            <a:prstGeom prst="rect">
              <a:avLst/>
            </a:prstGeom>
            <a:solidFill>
              <a:srgbClr val="DBEE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159">
              <a:extLst>
                <a:ext uri="{FF2B5EF4-FFF2-40B4-BE49-F238E27FC236}">
                  <a16:creationId xmlns:a16="http://schemas.microsoft.com/office/drawing/2014/main" id="{D94E7387-51A4-467E-9449-1F0DC8FB947C}"/>
                </a:ext>
              </a:extLst>
            </p:cNvPr>
            <p:cNvSpPr>
              <a:spLocks noChangeArrowheads="1"/>
            </p:cNvSpPr>
            <p:nvPr/>
          </p:nvSpPr>
          <p:spPr bwMode="auto">
            <a:xfrm>
              <a:off x="4203700" y="4011613"/>
              <a:ext cx="1604963" cy="2754313"/>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Freeform 174">
              <a:extLst>
                <a:ext uri="{FF2B5EF4-FFF2-40B4-BE49-F238E27FC236}">
                  <a16:creationId xmlns:a16="http://schemas.microsoft.com/office/drawing/2014/main" id="{297F2246-3373-4CF4-90C9-923F3F6B8D3B}"/>
                </a:ext>
              </a:extLst>
            </p:cNvPr>
            <p:cNvSpPr>
              <a:spLocks/>
            </p:cNvSpPr>
            <p:nvPr/>
          </p:nvSpPr>
          <p:spPr bwMode="auto">
            <a:xfrm>
              <a:off x="4532313" y="4167188"/>
              <a:ext cx="963613"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175">
              <a:extLst>
                <a:ext uri="{FF2B5EF4-FFF2-40B4-BE49-F238E27FC236}">
                  <a16:creationId xmlns:a16="http://schemas.microsoft.com/office/drawing/2014/main" id="{492E406D-9599-41C0-8ADD-3489788CF3B6}"/>
                </a:ext>
              </a:extLst>
            </p:cNvPr>
            <p:cNvSpPr>
              <a:spLocks/>
            </p:cNvSpPr>
            <p:nvPr/>
          </p:nvSpPr>
          <p:spPr bwMode="auto">
            <a:xfrm>
              <a:off x="4532313" y="4167188"/>
              <a:ext cx="963613"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 name="Rectangle 176">
              <a:extLst>
                <a:ext uri="{FF2B5EF4-FFF2-40B4-BE49-F238E27FC236}">
                  <a16:creationId xmlns:a16="http://schemas.microsoft.com/office/drawing/2014/main" id="{4137C440-8D68-4744-887C-E34460C14238}"/>
                </a:ext>
              </a:extLst>
            </p:cNvPr>
            <p:cNvSpPr>
              <a:spLocks noChangeArrowheads="1"/>
            </p:cNvSpPr>
            <p:nvPr/>
          </p:nvSpPr>
          <p:spPr bwMode="auto">
            <a:xfrm>
              <a:off x="4779963" y="4187826"/>
              <a:ext cx="6159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Calibri" panose="020F0502020204030204" pitchFamily="34" charset="0"/>
                </a:rPr>
                <a:t>Standard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3" name="Rectangle 177">
              <a:extLst>
                <a:ext uri="{FF2B5EF4-FFF2-40B4-BE49-F238E27FC236}">
                  <a16:creationId xmlns:a16="http://schemas.microsoft.com/office/drawing/2014/main" id="{E65DD055-FF79-4619-B8B0-60C75693B50A}"/>
                </a:ext>
              </a:extLst>
            </p:cNvPr>
            <p:cNvSpPr>
              <a:spLocks noChangeArrowheads="1"/>
            </p:cNvSpPr>
            <p:nvPr/>
          </p:nvSpPr>
          <p:spPr bwMode="auto">
            <a:xfrm>
              <a:off x="4608513" y="4340226"/>
              <a:ext cx="954088"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tention Labe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4" name="Freeform 178">
              <a:extLst>
                <a:ext uri="{FF2B5EF4-FFF2-40B4-BE49-F238E27FC236}">
                  <a16:creationId xmlns:a16="http://schemas.microsoft.com/office/drawing/2014/main" id="{755007E8-CFA1-4726-984E-4680B2B0A2E5}"/>
                </a:ext>
              </a:extLst>
            </p:cNvPr>
            <p:cNvSpPr>
              <a:spLocks/>
            </p:cNvSpPr>
            <p:nvPr/>
          </p:nvSpPr>
          <p:spPr bwMode="auto">
            <a:xfrm>
              <a:off x="4429125" y="5965826"/>
              <a:ext cx="1185863" cy="361950"/>
            </a:xfrm>
            <a:custGeom>
              <a:avLst/>
              <a:gdLst>
                <a:gd name="T0" fmla="*/ 397 w 3976"/>
                <a:gd name="T1" fmla="*/ 1216 h 1216"/>
                <a:gd name="T2" fmla="*/ 3578 w 3976"/>
                <a:gd name="T3" fmla="*/ 1216 h 1216"/>
                <a:gd name="T4" fmla="*/ 3976 w 3976"/>
                <a:gd name="T5" fmla="*/ 818 h 1216"/>
                <a:gd name="T6" fmla="*/ 3976 w 3976"/>
                <a:gd name="T7" fmla="*/ 397 h 1216"/>
                <a:gd name="T8" fmla="*/ 3578 w 3976"/>
                <a:gd name="T9" fmla="*/ 0 h 1216"/>
                <a:gd name="T10" fmla="*/ 397 w 3976"/>
                <a:gd name="T11" fmla="*/ 0 h 1216"/>
                <a:gd name="T12" fmla="*/ 0 w 3976"/>
                <a:gd name="T13" fmla="*/ 397 h 1216"/>
                <a:gd name="T14" fmla="*/ 0 w 3976"/>
                <a:gd name="T15" fmla="*/ 818 h 1216"/>
                <a:gd name="T16" fmla="*/ 397 w 3976"/>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6" h="1216">
                  <a:moveTo>
                    <a:pt x="397" y="1216"/>
                  </a:moveTo>
                  <a:lnTo>
                    <a:pt x="3578" y="1216"/>
                  </a:lnTo>
                  <a:cubicBezTo>
                    <a:pt x="3798" y="1216"/>
                    <a:pt x="3976" y="1038"/>
                    <a:pt x="3976" y="818"/>
                  </a:cubicBezTo>
                  <a:lnTo>
                    <a:pt x="3976" y="397"/>
                  </a:lnTo>
                  <a:cubicBezTo>
                    <a:pt x="3976" y="178"/>
                    <a:pt x="3798" y="0"/>
                    <a:pt x="3578" y="0"/>
                  </a:cubicBezTo>
                  <a:lnTo>
                    <a:pt x="397" y="0"/>
                  </a:lnTo>
                  <a:cubicBezTo>
                    <a:pt x="178" y="0"/>
                    <a:pt x="0" y="178"/>
                    <a:pt x="0" y="397"/>
                  </a:cubicBezTo>
                  <a:lnTo>
                    <a:pt x="0" y="818"/>
                  </a:lnTo>
                  <a:cubicBezTo>
                    <a:pt x="0" y="1038"/>
                    <a:pt x="178" y="1216"/>
                    <a:pt x="397"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179">
              <a:extLst>
                <a:ext uri="{FF2B5EF4-FFF2-40B4-BE49-F238E27FC236}">
                  <a16:creationId xmlns:a16="http://schemas.microsoft.com/office/drawing/2014/main" id="{95F6EAD4-8F36-439D-9E72-35A0189DDD98}"/>
                </a:ext>
              </a:extLst>
            </p:cNvPr>
            <p:cNvSpPr>
              <a:spLocks/>
            </p:cNvSpPr>
            <p:nvPr/>
          </p:nvSpPr>
          <p:spPr bwMode="auto">
            <a:xfrm>
              <a:off x="4429125" y="5965826"/>
              <a:ext cx="1185863" cy="361950"/>
            </a:xfrm>
            <a:custGeom>
              <a:avLst/>
              <a:gdLst>
                <a:gd name="T0" fmla="*/ 397 w 3976"/>
                <a:gd name="T1" fmla="*/ 1216 h 1216"/>
                <a:gd name="T2" fmla="*/ 3578 w 3976"/>
                <a:gd name="T3" fmla="*/ 1216 h 1216"/>
                <a:gd name="T4" fmla="*/ 3976 w 3976"/>
                <a:gd name="T5" fmla="*/ 818 h 1216"/>
                <a:gd name="T6" fmla="*/ 3976 w 3976"/>
                <a:gd name="T7" fmla="*/ 397 h 1216"/>
                <a:gd name="T8" fmla="*/ 3578 w 3976"/>
                <a:gd name="T9" fmla="*/ 0 h 1216"/>
                <a:gd name="T10" fmla="*/ 397 w 3976"/>
                <a:gd name="T11" fmla="*/ 0 h 1216"/>
                <a:gd name="T12" fmla="*/ 0 w 3976"/>
                <a:gd name="T13" fmla="*/ 397 h 1216"/>
                <a:gd name="T14" fmla="*/ 0 w 3976"/>
                <a:gd name="T15" fmla="*/ 818 h 1216"/>
                <a:gd name="T16" fmla="*/ 397 w 3976"/>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6" h="1216">
                  <a:moveTo>
                    <a:pt x="397" y="1216"/>
                  </a:moveTo>
                  <a:lnTo>
                    <a:pt x="3578" y="1216"/>
                  </a:lnTo>
                  <a:cubicBezTo>
                    <a:pt x="3798" y="1216"/>
                    <a:pt x="3976" y="1038"/>
                    <a:pt x="3976" y="818"/>
                  </a:cubicBezTo>
                  <a:lnTo>
                    <a:pt x="3976" y="397"/>
                  </a:lnTo>
                  <a:cubicBezTo>
                    <a:pt x="3976" y="178"/>
                    <a:pt x="3798" y="0"/>
                    <a:pt x="3578" y="0"/>
                  </a:cubicBezTo>
                  <a:lnTo>
                    <a:pt x="397" y="0"/>
                  </a:lnTo>
                  <a:cubicBezTo>
                    <a:pt x="178" y="0"/>
                    <a:pt x="0" y="178"/>
                    <a:pt x="0" y="397"/>
                  </a:cubicBezTo>
                  <a:lnTo>
                    <a:pt x="0" y="818"/>
                  </a:lnTo>
                  <a:cubicBezTo>
                    <a:pt x="0" y="1038"/>
                    <a:pt x="178" y="1216"/>
                    <a:pt x="397"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Rectangle 180">
              <a:extLst>
                <a:ext uri="{FF2B5EF4-FFF2-40B4-BE49-F238E27FC236}">
                  <a16:creationId xmlns:a16="http://schemas.microsoft.com/office/drawing/2014/main" id="{C82EC969-FFA7-46EF-8E9E-15D6C05E8058}"/>
                </a:ext>
              </a:extLst>
            </p:cNvPr>
            <p:cNvSpPr>
              <a:spLocks noChangeArrowheads="1"/>
            </p:cNvSpPr>
            <p:nvPr/>
          </p:nvSpPr>
          <p:spPr bwMode="auto">
            <a:xfrm>
              <a:off x="4549775" y="5988051"/>
              <a:ext cx="11398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Calibri" panose="020F0502020204030204" pitchFamily="34" charset="0"/>
                </a:rPr>
                <a:t>Regulatory Record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7" name="Rectangle 181">
              <a:extLst>
                <a:ext uri="{FF2B5EF4-FFF2-40B4-BE49-F238E27FC236}">
                  <a16:creationId xmlns:a16="http://schemas.microsoft.com/office/drawing/2014/main" id="{3362E1E7-5E82-4229-B6D9-1FA33FA941F4}"/>
                </a:ext>
              </a:extLst>
            </p:cNvPr>
            <p:cNvSpPr>
              <a:spLocks noChangeArrowheads="1"/>
            </p:cNvSpPr>
            <p:nvPr/>
          </p:nvSpPr>
          <p:spPr bwMode="auto">
            <a:xfrm>
              <a:off x="4618038" y="6140451"/>
              <a:ext cx="9525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tention Labe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8" name="Rectangle 182">
              <a:extLst>
                <a:ext uri="{FF2B5EF4-FFF2-40B4-BE49-F238E27FC236}">
                  <a16:creationId xmlns:a16="http://schemas.microsoft.com/office/drawing/2014/main" id="{77FE1731-5D68-40EF-B4D5-2D668FE4C3E4}"/>
                </a:ext>
              </a:extLst>
            </p:cNvPr>
            <p:cNvSpPr>
              <a:spLocks noChangeArrowheads="1"/>
            </p:cNvSpPr>
            <p:nvPr/>
          </p:nvSpPr>
          <p:spPr bwMode="auto">
            <a:xfrm>
              <a:off x="4621213" y="5468938"/>
              <a:ext cx="8064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prevents updates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9" name="Rectangle 183">
              <a:extLst>
                <a:ext uri="{FF2B5EF4-FFF2-40B4-BE49-F238E27FC236}">
                  <a16:creationId xmlns:a16="http://schemas.microsoft.com/office/drawing/2014/main" id="{249D5869-3EE2-4478-A59E-415BE780BA40}"/>
                </a:ext>
              </a:extLst>
            </p:cNvPr>
            <p:cNvSpPr>
              <a:spLocks noChangeArrowheads="1"/>
            </p:cNvSpPr>
            <p:nvPr/>
          </p:nvSpPr>
          <p:spPr bwMode="auto">
            <a:xfrm>
              <a:off x="4400550" y="5613401"/>
              <a:ext cx="120650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during the retention perio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0" name="Rectangle 187">
              <a:extLst>
                <a:ext uri="{FF2B5EF4-FFF2-40B4-BE49-F238E27FC236}">
                  <a16:creationId xmlns:a16="http://schemas.microsoft.com/office/drawing/2014/main" id="{0BE51ECB-1A56-4F4F-A85E-D056F2C4D584}"/>
                </a:ext>
              </a:extLst>
            </p:cNvPr>
            <p:cNvSpPr>
              <a:spLocks noChangeArrowheads="1"/>
            </p:cNvSpPr>
            <p:nvPr/>
          </p:nvSpPr>
          <p:spPr bwMode="auto">
            <a:xfrm>
              <a:off x="4310063" y="6340476"/>
              <a:ext cx="14636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such records cannot be removed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1" name="Rectangle 188">
              <a:extLst>
                <a:ext uri="{FF2B5EF4-FFF2-40B4-BE49-F238E27FC236}">
                  <a16:creationId xmlns:a16="http://schemas.microsoft.com/office/drawing/2014/main" id="{4CDA2454-425A-4922-AE5B-612C2F5BBCCB}"/>
                </a:ext>
              </a:extLst>
            </p:cNvPr>
            <p:cNvSpPr>
              <a:spLocks noChangeArrowheads="1"/>
            </p:cNvSpPr>
            <p:nvPr/>
          </p:nvSpPr>
          <p:spPr bwMode="auto">
            <a:xfrm>
              <a:off x="4737100" y="6484938"/>
              <a:ext cx="5969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once applie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 name="Rectangle 189">
              <a:extLst>
                <a:ext uri="{FF2B5EF4-FFF2-40B4-BE49-F238E27FC236}">
                  <a16:creationId xmlns:a16="http://schemas.microsoft.com/office/drawing/2014/main" id="{FC5B3EB0-0D69-405F-B14F-EE77F20E607E}"/>
                </a:ext>
              </a:extLst>
            </p:cNvPr>
            <p:cNvSpPr>
              <a:spLocks noChangeArrowheads="1"/>
            </p:cNvSpPr>
            <p:nvPr/>
          </p:nvSpPr>
          <p:spPr bwMode="auto">
            <a:xfrm>
              <a:off x="4217988" y="2986088"/>
              <a:ext cx="1604963" cy="719138"/>
            </a:xfrm>
            <a:prstGeom prst="rect">
              <a:avLst/>
            </a:prstGeom>
            <a:solidFill>
              <a:srgbClr val="DBEE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4">
              <a:extLst>
                <a:ext uri="{FF2B5EF4-FFF2-40B4-BE49-F238E27FC236}">
                  <a16:creationId xmlns:a16="http://schemas.microsoft.com/office/drawing/2014/main" id="{62F860FC-43AB-41E8-A5C4-13FB49393292}"/>
                </a:ext>
              </a:extLst>
            </p:cNvPr>
            <p:cNvSpPr>
              <a:spLocks/>
            </p:cNvSpPr>
            <p:nvPr/>
          </p:nvSpPr>
          <p:spPr bwMode="auto">
            <a:xfrm>
              <a:off x="4532313" y="5091113"/>
              <a:ext cx="963613"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195">
              <a:extLst>
                <a:ext uri="{FF2B5EF4-FFF2-40B4-BE49-F238E27FC236}">
                  <a16:creationId xmlns:a16="http://schemas.microsoft.com/office/drawing/2014/main" id="{461559DA-BDF2-48AE-B69A-C0A71BAA653B}"/>
                </a:ext>
              </a:extLst>
            </p:cNvPr>
            <p:cNvSpPr>
              <a:spLocks/>
            </p:cNvSpPr>
            <p:nvPr/>
          </p:nvSpPr>
          <p:spPr bwMode="auto">
            <a:xfrm>
              <a:off x="4532313" y="5091113"/>
              <a:ext cx="963613"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Rectangle 196">
              <a:extLst>
                <a:ext uri="{FF2B5EF4-FFF2-40B4-BE49-F238E27FC236}">
                  <a16:creationId xmlns:a16="http://schemas.microsoft.com/office/drawing/2014/main" id="{6D9550DE-69E9-4045-91A8-BA06C25CF7E8}"/>
                </a:ext>
              </a:extLst>
            </p:cNvPr>
            <p:cNvSpPr>
              <a:spLocks noChangeArrowheads="1"/>
            </p:cNvSpPr>
            <p:nvPr/>
          </p:nvSpPr>
          <p:spPr bwMode="auto">
            <a:xfrm>
              <a:off x="4837113" y="5113338"/>
              <a:ext cx="4619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Calibri" panose="020F0502020204030204" pitchFamily="34" charset="0"/>
                </a:rPr>
                <a:t>Recor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6" name="Rectangle 197">
              <a:extLst>
                <a:ext uri="{FF2B5EF4-FFF2-40B4-BE49-F238E27FC236}">
                  <a16:creationId xmlns:a16="http://schemas.microsoft.com/office/drawing/2014/main" id="{12474B26-4F22-4E66-8B4A-A927120AAAE9}"/>
                </a:ext>
              </a:extLst>
            </p:cNvPr>
            <p:cNvSpPr>
              <a:spLocks noChangeArrowheads="1"/>
            </p:cNvSpPr>
            <p:nvPr/>
          </p:nvSpPr>
          <p:spPr bwMode="auto">
            <a:xfrm>
              <a:off x="4608513" y="5265738"/>
              <a:ext cx="9540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tention Labe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7" name="Rectangle 219">
              <a:extLst>
                <a:ext uri="{FF2B5EF4-FFF2-40B4-BE49-F238E27FC236}">
                  <a16:creationId xmlns:a16="http://schemas.microsoft.com/office/drawing/2014/main" id="{A870EE24-610D-4EC7-8B78-6E126B4872AD}"/>
                </a:ext>
              </a:extLst>
            </p:cNvPr>
            <p:cNvSpPr>
              <a:spLocks noChangeArrowheads="1"/>
            </p:cNvSpPr>
            <p:nvPr/>
          </p:nvSpPr>
          <p:spPr bwMode="auto">
            <a:xfrm>
              <a:off x="4619625" y="4521201"/>
              <a:ext cx="792163"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ensures reten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8" name="Rectangle 220">
              <a:extLst>
                <a:ext uri="{FF2B5EF4-FFF2-40B4-BE49-F238E27FC236}">
                  <a16:creationId xmlns:a16="http://schemas.microsoft.com/office/drawing/2014/main" id="{4A252849-7774-4668-A7A4-2C60EA788DA2}"/>
                </a:ext>
              </a:extLst>
            </p:cNvPr>
            <p:cNvSpPr>
              <a:spLocks noChangeArrowheads="1"/>
            </p:cNvSpPr>
            <p:nvPr/>
          </p:nvSpPr>
          <p:spPr bwMode="auto">
            <a:xfrm>
              <a:off x="4570413" y="4643438"/>
              <a:ext cx="9144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amp; prevents deletion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9" name="Rectangle 221">
              <a:extLst>
                <a:ext uri="{FF2B5EF4-FFF2-40B4-BE49-F238E27FC236}">
                  <a16:creationId xmlns:a16="http://schemas.microsoft.com/office/drawing/2014/main" id="{D804F941-9D5B-474E-B2FB-CD9421B7667C}"/>
                </a:ext>
              </a:extLst>
            </p:cNvPr>
            <p:cNvSpPr>
              <a:spLocks noChangeArrowheads="1"/>
            </p:cNvSpPr>
            <p:nvPr/>
          </p:nvSpPr>
          <p:spPr bwMode="auto">
            <a:xfrm>
              <a:off x="4405313" y="4787901"/>
              <a:ext cx="12065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during the retention perio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5" name="TextBox 4">
            <a:extLst>
              <a:ext uri="{FF2B5EF4-FFF2-40B4-BE49-F238E27FC236}">
                <a16:creationId xmlns:a16="http://schemas.microsoft.com/office/drawing/2014/main" id="{BCADBF0E-BB21-4A3A-9A5F-6401F1843D1A}"/>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Information Governance </a:t>
            </a:r>
            <a:r>
              <a:rPr kumimoji="0" lang="en-US" sz="2000" b="0" i="0" u="none" strike="noStrike" kern="1200" cap="none" spc="0" normalizeH="0" baseline="0" noProof="0" dirty="0">
                <a:ln>
                  <a:noFill/>
                </a:ln>
                <a:solidFill>
                  <a:srgbClr val="FFFFFF"/>
                </a:solidFill>
                <a:effectLst/>
                <a:uLnTx/>
                <a:uFillTx/>
                <a:latin typeface="Segoe UI"/>
                <a:ea typeface="+mn-ea"/>
                <a:cs typeface="+mn-cs"/>
              </a:rPr>
              <a:t>– Summary</a:t>
            </a:r>
          </a:p>
        </p:txBody>
      </p:sp>
      <p:sp>
        <p:nvSpPr>
          <p:cNvPr id="2" name="TextBox 1">
            <a:extLst>
              <a:ext uri="{FF2B5EF4-FFF2-40B4-BE49-F238E27FC236}">
                <a16:creationId xmlns:a16="http://schemas.microsoft.com/office/drawing/2014/main" id="{91B1167E-F896-4ADD-BE61-F0549230A979}"/>
              </a:ext>
            </a:extLst>
          </p:cNvPr>
          <p:cNvSpPr txBox="1"/>
          <p:nvPr/>
        </p:nvSpPr>
        <p:spPr>
          <a:xfrm>
            <a:off x="10472178" y="89316"/>
            <a:ext cx="1622175" cy="861774"/>
          </a:xfrm>
          <a:prstGeom prst="rect">
            <a:avLst/>
          </a:prstGeom>
          <a:noFill/>
        </p:spPr>
        <p:txBody>
          <a:bodyPr wrap="none" lIns="0" tIns="0" rIns="0" bIns="0" rtlCol="0">
            <a:spAutoFit/>
          </a:bodyPr>
          <a:lstStyle/>
          <a:p>
            <a:pPr algn="ctr"/>
            <a:r>
              <a:rPr lang="en-US" sz="2800" b="1" dirty="0">
                <a:solidFill>
                  <a:schemeClr val="accent6">
                    <a:lumMod val="50000"/>
                  </a:schemeClr>
                </a:solidFill>
              </a:rPr>
              <a:t>Labels</a:t>
            </a:r>
          </a:p>
          <a:p>
            <a:pPr algn="ctr"/>
            <a:r>
              <a:rPr lang="en-US" sz="2800" b="1" dirty="0">
                <a:solidFill>
                  <a:schemeClr val="accent6">
                    <a:lumMod val="50000"/>
                  </a:schemeClr>
                </a:solidFill>
              </a:rPr>
              <a:t>Summary</a:t>
            </a:r>
          </a:p>
        </p:txBody>
      </p:sp>
      <p:sp>
        <p:nvSpPr>
          <p:cNvPr id="205" name="Freeform 160">
            <a:extLst>
              <a:ext uri="{FF2B5EF4-FFF2-40B4-BE49-F238E27FC236}">
                <a16:creationId xmlns:a16="http://schemas.microsoft.com/office/drawing/2014/main" id="{7EBF6A66-A0B8-46B9-AF9A-AE3E35604D57}"/>
              </a:ext>
            </a:extLst>
          </p:cNvPr>
          <p:cNvSpPr>
            <a:spLocks/>
          </p:cNvSpPr>
          <p:nvPr/>
        </p:nvSpPr>
        <p:spPr bwMode="auto">
          <a:xfrm>
            <a:off x="4548188" y="615951"/>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161">
            <a:extLst>
              <a:ext uri="{FF2B5EF4-FFF2-40B4-BE49-F238E27FC236}">
                <a16:creationId xmlns:a16="http://schemas.microsoft.com/office/drawing/2014/main" id="{69E95625-85B9-49A1-B6C1-595B5B8C81A3}"/>
              </a:ext>
            </a:extLst>
          </p:cNvPr>
          <p:cNvSpPr>
            <a:spLocks/>
          </p:cNvSpPr>
          <p:nvPr/>
        </p:nvSpPr>
        <p:spPr bwMode="auto">
          <a:xfrm>
            <a:off x="4548188" y="615951"/>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7" name="Rectangle 162">
            <a:extLst>
              <a:ext uri="{FF2B5EF4-FFF2-40B4-BE49-F238E27FC236}">
                <a16:creationId xmlns:a16="http://schemas.microsoft.com/office/drawing/2014/main" id="{8155E111-C3D5-475C-9C5B-4476F1573C1E}"/>
              </a:ext>
            </a:extLst>
          </p:cNvPr>
          <p:cNvSpPr>
            <a:spLocks noChangeArrowheads="1"/>
          </p:cNvSpPr>
          <p:nvPr/>
        </p:nvSpPr>
        <p:spPr bwMode="auto">
          <a:xfrm>
            <a:off x="4819650" y="638176"/>
            <a:ext cx="5349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Calibri" panose="020F0502020204030204" pitchFamily="34" charset="0"/>
              </a:rPr>
              <a:t>Record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8" name="Rectangle 163">
            <a:extLst>
              <a:ext uri="{FF2B5EF4-FFF2-40B4-BE49-F238E27FC236}">
                <a16:creationId xmlns:a16="http://schemas.microsoft.com/office/drawing/2014/main" id="{A77FDFD0-C63B-4EEC-81CA-F0B0BFF704DE}"/>
              </a:ext>
            </a:extLst>
          </p:cNvPr>
          <p:cNvSpPr>
            <a:spLocks noChangeArrowheads="1"/>
          </p:cNvSpPr>
          <p:nvPr/>
        </p:nvSpPr>
        <p:spPr bwMode="auto">
          <a:xfrm>
            <a:off x="4679950" y="790576"/>
            <a:ext cx="8397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Calibri" panose="020F0502020204030204" pitchFamily="34" charset="0"/>
              </a:rPr>
              <a:t>managemen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14" name="Freeform 169">
            <a:extLst>
              <a:ext uri="{FF2B5EF4-FFF2-40B4-BE49-F238E27FC236}">
                <a16:creationId xmlns:a16="http://schemas.microsoft.com/office/drawing/2014/main" id="{F94CEDA6-3A2D-43C9-BB16-93DC8AC3756A}"/>
              </a:ext>
            </a:extLst>
          </p:cNvPr>
          <p:cNvSpPr>
            <a:spLocks/>
          </p:cNvSpPr>
          <p:nvPr/>
        </p:nvSpPr>
        <p:spPr bwMode="auto">
          <a:xfrm>
            <a:off x="4837113" y="101601"/>
            <a:ext cx="115888" cy="114300"/>
          </a:xfrm>
          <a:custGeom>
            <a:avLst/>
            <a:gdLst>
              <a:gd name="T0" fmla="*/ 194 w 386"/>
              <a:gd name="T1" fmla="*/ 385 h 385"/>
              <a:gd name="T2" fmla="*/ 386 w 386"/>
              <a:gd name="T3" fmla="*/ 194 h 385"/>
              <a:gd name="T4" fmla="*/ 273 w 386"/>
              <a:gd name="T5" fmla="*/ 18 h 385"/>
              <a:gd name="T6" fmla="*/ 194 w 386"/>
              <a:gd name="T7" fmla="*/ 0 h 385"/>
              <a:gd name="T8" fmla="*/ 115 w 386"/>
              <a:gd name="T9" fmla="*/ 18 h 385"/>
              <a:gd name="T10" fmla="*/ 2 w 386"/>
              <a:gd name="T11" fmla="*/ 194 h 385"/>
              <a:gd name="T12" fmla="*/ 194 w 386"/>
              <a:gd name="T13" fmla="*/ 385 h 385"/>
            </a:gdLst>
            <a:ahLst/>
            <a:cxnLst>
              <a:cxn ang="0">
                <a:pos x="T0" y="T1"/>
              </a:cxn>
              <a:cxn ang="0">
                <a:pos x="T2" y="T3"/>
              </a:cxn>
              <a:cxn ang="0">
                <a:pos x="T4" y="T5"/>
              </a:cxn>
              <a:cxn ang="0">
                <a:pos x="T6" y="T7"/>
              </a:cxn>
              <a:cxn ang="0">
                <a:pos x="T8" y="T9"/>
              </a:cxn>
              <a:cxn ang="0">
                <a:pos x="T10" y="T11"/>
              </a:cxn>
              <a:cxn ang="0">
                <a:pos x="T12" y="T13"/>
              </a:cxn>
            </a:cxnLst>
            <a:rect l="0" t="0" r="r" b="b"/>
            <a:pathLst>
              <a:path w="386" h="385">
                <a:moveTo>
                  <a:pt x="194" y="385"/>
                </a:moveTo>
                <a:cubicBezTo>
                  <a:pt x="300" y="385"/>
                  <a:pt x="386" y="300"/>
                  <a:pt x="386" y="194"/>
                </a:cubicBezTo>
                <a:cubicBezTo>
                  <a:pt x="386" y="115"/>
                  <a:pt x="339" y="49"/>
                  <a:pt x="273" y="18"/>
                </a:cubicBezTo>
                <a:cubicBezTo>
                  <a:pt x="248" y="7"/>
                  <a:pt x="221" y="0"/>
                  <a:pt x="194" y="0"/>
                </a:cubicBezTo>
                <a:cubicBezTo>
                  <a:pt x="167" y="0"/>
                  <a:pt x="138" y="7"/>
                  <a:pt x="115" y="18"/>
                </a:cubicBezTo>
                <a:cubicBezTo>
                  <a:pt x="50" y="47"/>
                  <a:pt x="2" y="115"/>
                  <a:pt x="2" y="194"/>
                </a:cubicBezTo>
                <a:cubicBezTo>
                  <a:pt x="0" y="300"/>
                  <a:pt x="88" y="385"/>
                  <a:pt x="194" y="385"/>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170">
            <a:extLst>
              <a:ext uri="{FF2B5EF4-FFF2-40B4-BE49-F238E27FC236}">
                <a16:creationId xmlns:a16="http://schemas.microsoft.com/office/drawing/2014/main" id="{9E9FCE77-1629-490B-8D48-A532F8C70122}"/>
              </a:ext>
            </a:extLst>
          </p:cNvPr>
          <p:cNvSpPr>
            <a:spLocks/>
          </p:cNvSpPr>
          <p:nvPr/>
        </p:nvSpPr>
        <p:spPr bwMode="auto">
          <a:xfrm>
            <a:off x="4810125" y="230188"/>
            <a:ext cx="171450" cy="85725"/>
          </a:xfrm>
          <a:custGeom>
            <a:avLst/>
            <a:gdLst>
              <a:gd name="T0" fmla="*/ 288 w 577"/>
              <a:gd name="T1" fmla="*/ 0 h 288"/>
              <a:gd name="T2" fmla="*/ 0 w 577"/>
              <a:gd name="T3" fmla="*/ 288 h 288"/>
              <a:gd name="T4" fmla="*/ 577 w 577"/>
              <a:gd name="T5" fmla="*/ 288 h 288"/>
              <a:gd name="T6" fmla="*/ 288 w 577"/>
              <a:gd name="T7" fmla="*/ 0 h 288"/>
            </a:gdLst>
            <a:ahLst/>
            <a:cxnLst>
              <a:cxn ang="0">
                <a:pos x="T0" y="T1"/>
              </a:cxn>
              <a:cxn ang="0">
                <a:pos x="T2" y="T3"/>
              </a:cxn>
              <a:cxn ang="0">
                <a:pos x="T4" y="T5"/>
              </a:cxn>
              <a:cxn ang="0">
                <a:pos x="T6" y="T7"/>
              </a:cxn>
            </a:cxnLst>
            <a:rect l="0" t="0" r="r" b="b"/>
            <a:pathLst>
              <a:path w="577" h="288">
                <a:moveTo>
                  <a:pt x="288" y="0"/>
                </a:moveTo>
                <a:cubicBezTo>
                  <a:pt x="128" y="0"/>
                  <a:pt x="0" y="128"/>
                  <a:pt x="0" y="288"/>
                </a:cubicBezTo>
                <a:lnTo>
                  <a:pt x="577" y="288"/>
                </a:lnTo>
                <a:cubicBezTo>
                  <a:pt x="577" y="130"/>
                  <a:pt x="446" y="0"/>
                  <a:pt x="288"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171">
            <a:extLst>
              <a:ext uri="{FF2B5EF4-FFF2-40B4-BE49-F238E27FC236}">
                <a16:creationId xmlns:a16="http://schemas.microsoft.com/office/drawing/2014/main" id="{005070A5-AAB3-4125-8EC2-8F6BA0F3EABA}"/>
              </a:ext>
            </a:extLst>
          </p:cNvPr>
          <p:cNvSpPr>
            <a:spLocks/>
          </p:cNvSpPr>
          <p:nvPr/>
        </p:nvSpPr>
        <p:spPr bwMode="auto">
          <a:xfrm>
            <a:off x="4716463" y="258763"/>
            <a:ext cx="79375" cy="57150"/>
          </a:xfrm>
          <a:custGeom>
            <a:avLst/>
            <a:gdLst>
              <a:gd name="T0" fmla="*/ 0 w 268"/>
              <a:gd name="T1" fmla="*/ 193 h 193"/>
              <a:gd name="T2" fmla="*/ 226 w 268"/>
              <a:gd name="T3" fmla="*/ 193 h 193"/>
              <a:gd name="T4" fmla="*/ 268 w 268"/>
              <a:gd name="T5" fmla="*/ 18 h 193"/>
              <a:gd name="T6" fmla="*/ 192 w 268"/>
              <a:gd name="T7" fmla="*/ 2 h 193"/>
              <a:gd name="T8" fmla="*/ 0 w 268"/>
              <a:gd name="T9" fmla="*/ 193 h 193"/>
            </a:gdLst>
            <a:ahLst/>
            <a:cxnLst>
              <a:cxn ang="0">
                <a:pos x="T0" y="T1"/>
              </a:cxn>
              <a:cxn ang="0">
                <a:pos x="T2" y="T3"/>
              </a:cxn>
              <a:cxn ang="0">
                <a:pos x="T4" y="T5"/>
              </a:cxn>
              <a:cxn ang="0">
                <a:pos x="T6" y="T7"/>
              </a:cxn>
              <a:cxn ang="0">
                <a:pos x="T8" y="T9"/>
              </a:cxn>
            </a:cxnLst>
            <a:rect l="0" t="0" r="r" b="b"/>
            <a:pathLst>
              <a:path w="268" h="193">
                <a:moveTo>
                  <a:pt x="0" y="193"/>
                </a:moveTo>
                <a:lnTo>
                  <a:pt x="226" y="193"/>
                </a:lnTo>
                <a:cubicBezTo>
                  <a:pt x="226" y="130"/>
                  <a:pt x="241" y="72"/>
                  <a:pt x="268" y="18"/>
                </a:cubicBezTo>
                <a:cubicBezTo>
                  <a:pt x="246" y="6"/>
                  <a:pt x="219" y="2"/>
                  <a:pt x="192" y="2"/>
                </a:cubicBezTo>
                <a:cubicBezTo>
                  <a:pt x="86" y="0"/>
                  <a:pt x="0" y="87"/>
                  <a:pt x="0" y="193"/>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172">
            <a:extLst>
              <a:ext uri="{FF2B5EF4-FFF2-40B4-BE49-F238E27FC236}">
                <a16:creationId xmlns:a16="http://schemas.microsoft.com/office/drawing/2014/main" id="{0C5D9415-EE14-46BC-A1FC-D1D93F0CCEDF}"/>
              </a:ext>
            </a:extLst>
          </p:cNvPr>
          <p:cNvSpPr>
            <a:spLocks/>
          </p:cNvSpPr>
          <p:nvPr/>
        </p:nvSpPr>
        <p:spPr bwMode="auto">
          <a:xfrm>
            <a:off x="4729163" y="160338"/>
            <a:ext cx="87313" cy="85725"/>
          </a:xfrm>
          <a:custGeom>
            <a:avLst/>
            <a:gdLst>
              <a:gd name="T0" fmla="*/ 145 w 289"/>
              <a:gd name="T1" fmla="*/ 0 h 288"/>
              <a:gd name="T2" fmla="*/ 0 w 289"/>
              <a:gd name="T3" fmla="*/ 144 h 288"/>
              <a:gd name="T4" fmla="*/ 52 w 289"/>
              <a:gd name="T5" fmla="*/ 255 h 288"/>
              <a:gd name="T6" fmla="*/ 136 w 289"/>
              <a:gd name="T7" fmla="*/ 288 h 288"/>
              <a:gd name="T8" fmla="*/ 145 w 289"/>
              <a:gd name="T9" fmla="*/ 288 h 288"/>
              <a:gd name="T10" fmla="*/ 154 w 289"/>
              <a:gd name="T11" fmla="*/ 288 h 288"/>
              <a:gd name="T12" fmla="*/ 237 w 289"/>
              <a:gd name="T13" fmla="*/ 255 h 288"/>
              <a:gd name="T14" fmla="*/ 289 w 289"/>
              <a:gd name="T15" fmla="*/ 144 h 288"/>
              <a:gd name="T16" fmla="*/ 145 w 289"/>
              <a:gd name="T17"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8">
                <a:moveTo>
                  <a:pt x="145" y="0"/>
                </a:moveTo>
                <a:cubicBezTo>
                  <a:pt x="66" y="0"/>
                  <a:pt x="0" y="65"/>
                  <a:pt x="0" y="144"/>
                </a:cubicBezTo>
                <a:cubicBezTo>
                  <a:pt x="0" y="189"/>
                  <a:pt x="21" y="227"/>
                  <a:pt x="52" y="255"/>
                </a:cubicBezTo>
                <a:cubicBezTo>
                  <a:pt x="75" y="275"/>
                  <a:pt x="104" y="286"/>
                  <a:pt x="136" y="288"/>
                </a:cubicBezTo>
                <a:cubicBezTo>
                  <a:pt x="138" y="288"/>
                  <a:pt x="140" y="288"/>
                  <a:pt x="145" y="288"/>
                </a:cubicBezTo>
                <a:cubicBezTo>
                  <a:pt x="147" y="288"/>
                  <a:pt x="149" y="288"/>
                  <a:pt x="154" y="288"/>
                </a:cubicBezTo>
                <a:cubicBezTo>
                  <a:pt x="185" y="286"/>
                  <a:pt x="215" y="275"/>
                  <a:pt x="237" y="255"/>
                </a:cubicBezTo>
                <a:cubicBezTo>
                  <a:pt x="269" y="227"/>
                  <a:pt x="289" y="189"/>
                  <a:pt x="289" y="144"/>
                </a:cubicBezTo>
                <a:cubicBezTo>
                  <a:pt x="289" y="65"/>
                  <a:pt x="226" y="0"/>
                  <a:pt x="145"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173">
            <a:extLst>
              <a:ext uri="{FF2B5EF4-FFF2-40B4-BE49-F238E27FC236}">
                <a16:creationId xmlns:a16="http://schemas.microsoft.com/office/drawing/2014/main" id="{866807AB-3F7B-4102-8A01-DA4FC2AE1153}"/>
              </a:ext>
            </a:extLst>
          </p:cNvPr>
          <p:cNvSpPr>
            <a:spLocks noChangeArrowheads="1"/>
          </p:cNvSpPr>
          <p:nvPr/>
        </p:nvSpPr>
        <p:spPr bwMode="auto">
          <a:xfrm>
            <a:off x="5046663" y="125413"/>
            <a:ext cx="1430338"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Records Administrato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9" name="Rectangle 224">
            <a:extLst>
              <a:ext uri="{FF2B5EF4-FFF2-40B4-BE49-F238E27FC236}">
                <a16:creationId xmlns:a16="http://schemas.microsoft.com/office/drawing/2014/main" id="{BDDC9963-9A13-4186-98EC-C785C8C4ACE3}"/>
              </a:ext>
            </a:extLst>
          </p:cNvPr>
          <p:cNvSpPr>
            <a:spLocks noChangeArrowheads="1"/>
          </p:cNvSpPr>
          <p:nvPr/>
        </p:nvSpPr>
        <p:spPr bwMode="auto">
          <a:xfrm>
            <a:off x="5580063" y="715963"/>
            <a:ext cx="328613"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Label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32" name="Group 31">
            <a:extLst>
              <a:ext uri="{FF2B5EF4-FFF2-40B4-BE49-F238E27FC236}">
                <a16:creationId xmlns:a16="http://schemas.microsoft.com/office/drawing/2014/main" id="{EF4D0CC5-58CA-4C40-AEFF-EF56B5428D98}"/>
              </a:ext>
            </a:extLst>
          </p:cNvPr>
          <p:cNvGrpSpPr/>
          <p:nvPr/>
        </p:nvGrpSpPr>
        <p:grpSpPr>
          <a:xfrm>
            <a:off x="4540250" y="2349501"/>
            <a:ext cx="1006476" cy="1193800"/>
            <a:chOff x="4540250" y="2349501"/>
            <a:chExt cx="1006476" cy="1193800"/>
          </a:xfrm>
        </p:grpSpPr>
        <p:sp>
          <p:nvSpPr>
            <p:cNvPr id="34" name="Rectangle 210">
              <a:extLst>
                <a:ext uri="{FF2B5EF4-FFF2-40B4-BE49-F238E27FC236}">
                  <a16:creationId xmlns:a16="http://schemas.microsoft.com/office/drawing/2014/main" id="{B5369BE5-8956-4B33-B4DB-F137621D7CC4}"/>
                </a:ext>
              </a:extLst>
            </p:cNvPr>
            <p:cNvSpPr>
              <a:spLocks noChangeArrowheads="1"/>
            </p:cNvSpPr>
            <p:nvPr/>
          </p:nvSpPr>
          <p:spPr bwMode="auto">
            <a:xfrm>
              <a:off x="5084763" y="2355851"/>
              <a:ext cx="46196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organiz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5" name="Line 211">
              <a:extLst>
                <a:ext uri="{FF2B5EF4-FFF2-40B4-BE49-F238E27FC236}">
                  <a16:creationId xmlns:a16="http://schemas.microsoft.com/office/drawing/2014/main" id="{E5CFC254-96FC-4126-98B0-1E3A0FB03995}"/>
                </a:ext>
              </a:extLst>
            </p:cNvPr>
            <p:cNvSpPr>
              <a:spLocks noChangeShapeType="1"/>
            </p:cNvSpPr>
            <p:nvPr/>
          </p:nvSpPr>
          <p:spPr bwMode="auto">
            <a:xfrm flipH="1">
              <a:off x="5022850" y="2349501"/>
              <a:ext cx="4763" cy="757238"/>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Freeform 212">
              <a:extLst>
                <a:ext uri="{FF2B5EF4-FFF2-40B4-BE49-F238E27FC236}">
                  <a16:creationId xmlns:a16="http://schemas.microsoft.com/office/drawing/2014/main" id="{C150EC37-AD2E-4C02-8866-53AB10ECAF8B}"/>
                </a:ext>
              </a:extLst>
            </p:cNvPr>
            <p:cNvSpPr>
              <a:spLocks/>
            </p:cNvSpPr>
            <p:nvPr/>
          </p:nvSpPr>
          <p:spPr bwMode="auto">
            <a:xfrm>
              <a:off x="4981575" y="3086101"/>
              <a:ext cx="82550" cy="84138"/>
            </a:xfrm>
            <a:custGeom>
              <a:avLst/>
              <a:gdLst>
                <a:gd name="T0" fmla="*/ 138 w 279"/>
                <a:gd name="T1" fmla="*/ 280 h 280"/>
                <a:gd name="T2" fmla="*/ 0 w 279"/>
                <a:gd name="T3" fmla="*/ 0 h 280"/>
                <a:gd name="T4" fmla="*/ 279 w 279"/>
                <a:gd name="T5" fmla="*/ 2 h 280"/>
                <a:gd name="T6" fmla="*/ 138 w 279"/>
                <a:gd name="T7" fmla="*/ 280 h 280"/>
              </a:gdLst>
              <a:ahLst/>
              <a:cxnLst>
                <a:cxn ang="0">
                  <a:pos x="T0" y="T1"/>
                </a:cxn>
                <a:cxn ang="0">
                  <a:pos x="T2" y="T3"/>
                </a:cxn>
                <a:cxn ang="0">
                  <a:pos x="T4" y="T5"/>
                </a:cxn>
                <a:cxn ang="0">
                  <a:pos x="T6" y="T7"/>
                </a:cxn>
              </a:cxnLst>
              <a:rect l="0" t="0" r="r" b="b"/>
              <a:pathLst>
                <a:path w="279" h="280">
                  <a:moveTo>
                    <a:pt x="138" y="280"/>
                  </a:moveTo>
                  <a:lnTo>
                    <a:pt x="0" y="0"/>
                  </a:lnTo>
                  <a:cubicBezTo>
                    <a:pt x="88" y="45"/>
                    <a:pt x="191" y="45"/>
                    <a:pt x="279" y="2"/>
                  </a:cubicBezTo>
                  <a:lnTo>
                    <a:pt x="138" y="28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213">
              <a:extLst>
                <a:ext uri="{FF2B5EF4-FFF2-40B4-BE49-F238E27FC236}">
                  <a16:creationId xmlns:a16="http://schemas.microsoft.com/office/drawing/2014/main" id="{BC57C1F5-3A33-4285-B6B8-43AE465CDD95}"/>
                </a:ext>
              </a:extLst>
            </p:cNvPr>
            <p:cNvSpPr>
              <a:spLocks/>
            </p:cNvSpPr>
            <p:nvPr/>
          </p:nvSpPr>
          <p:spPr bwMode="auto">
            <a:xfrm>
              <a:off x="4540250" y="3170238"/>
              <a:ext cx="963613"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214">
              <a:extLst>
                <a:ext uri="{FF2B5EF4-FFF2-40B4-BE49-F238E27FC236}">
                  <a16:creationId xmlns:a16="http://schemas.microsoft.com/office/drawing/2014/main" id="{A6BB6382-C5C5-4F19-BD37-0A372EE338BB}"/>
                </a:ext>
              </a:extLst>
            </p:cNvPr>
            <p:cNvSpPr>
              <a:spLocks/>
            </p:cNvSpPr>
            <p:nvPr/>
          </p:nvSpPr>
          <p:spPr bwMode="auto">
            <a:xfrm>
              <a:off x="4540250" y="3170238"/>
              <a:ext cx="963613"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Rectangle 215">
              <a:extLst>
                <a:ext uri="{FF2B5EF4-FFF2-40B4-BE49-F238E27FC236}">
                  <a16:creationId xmlns:a16="http://schemas.microsoft.com/office/drawing/2014/main" id="{2876235D-7872-4C1B-9BFC-C5C535E6F706}"/>
                </a:ext>
              </a:extLst>
            </p:cNvPr>
            <p:cNvSpPr>
              <a:spLocks noChangeArrowheads="1"/>
            </p:cNvSpPr>
            <p:nvPr/>
          </p:nvSpPr>
          <p:spPr bwMode="auto">
            <a:xfrm>
              <a:off x="4768850" y="3190876"/>
              <a:ext cx="6238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ten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0" name="Rectangle 216">
              <a:extLst>
                <a:ext uri="{FF2B5EF4-FFF2-40B4-BE49-F238E27FC236}">
                  <a16:creationId xmlns:a16="http://schemas.microsoft.com/office/drawing/2014/main" id="{B56FF048-29EB-48BA-BD1F-08717512C08B}"/>
                </a:ext>
              </a:extLst>
            </p:cNvPr>
            <p:cNvSpPr>
              <a:spLocks noChangeArrowheads="1"/>
            </p:cNvSpPr>
            <p:nvPr/>
          </p:nvSpPr>
          <p:spPr bwMode="auto">
            <a:xfrm>
              <a:off x="4862513" y="3343276"/>
              <a:ext cx="4238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Label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41" name="Group 40">
            <a:extLst>
              <a:ext uri="{FF2B5EF4-FFF2-40B4-BE49-F238E27FC236}">
                <a16:creationId xmlns:a16="http://schemas.microsoft.com/office/drawing/2014/main" id="{F5B16E8B-A757-469D-ADF8-974CE323DCBF}"/>
              </a:ext>
            </a:extLst>
          </p:cNvPr>
          <p:cNvGrpSpPr/>
          <p:nvPr/>
        </p:nvGrpSpPr>
        <p:grpSpPr>
          <a:xfrm>
            <a:off x="5213350" y="979488"/>
            <a:ext cx="2746375" cy="2195513"/>
            <a:chOff x="5213350" y="979488"/>
            <a:chExt cx="2746375" cy="2195513"/>
          </a:xfrm>
        </p:grpSpPr>
        <p:sp>
          <p:nvSpPr>
            <p:cNvPr id="42" name="Rectangle 164">
              <a:extLst>
                <a:ext uri="{FF2B5EF4-FFF2-40B4-BE49-F238E27FC236}">
                  <a16:creationId xmlns:a16="http://schemas.microsoft.com/office/drawing/2014/main" id="{A016DC02-534B-427F-9D02-0B2FA8187DC1}"/>
                </a:ext>
              </a:extLst>
            </p:cNvPr>
            <p:cNvSpPr>
              <a:spLocks noChangeArrowheads="1"/>
            </p:cNvSpPr>
            <p:nvPr/>
          </p:nvSpPr>
          <p:spPr bwMode="auto">
            <a:xfrm>
              <a:off x="6503988" y="1570038"/>
              <a:ext cx="61912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Reviewe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3" name="Freeform 165">
              <a:extLst>
                <a:ext uri="{FF2B5EF4-FFF2-40B4-BE49-F238E27FC236}">
                  <a16:creationId xmlns:a16="http://schemas.microsoft.com/office/drawing/2014/main" id="{4651804D-23E3-46CC-BCF5-1A5243C77213}"/>
                </a:ext>
              </a:extLst>
            </p:cNvPr>
            <p:cNvSpPr>
              <a:spLocks/>
            </p:cNvSpPr>
            <p:nvPr/>
          </p:nvSpPr>
          <p:spPr bwMode="auto">
            <a:xfrm>
              <a:off x="6281738" y="1546226"/>
              <a:ext cx="115888" cy="114300"/>
            </a:xfrm>
            <a:custGeom>
              <a:avLst/>
              <a:gdLst>
                <a:gd name="T0" fmla="*/ 194 w 386"/>
                <a:gd name="T1" fmla="*/ 385 h 385"/>
                <a:gd name="T2" fmla="*/ 386 w 386"/>
                <a:gd name="T3" fmla="*/ 194 h 385"/>
                <a:gd name="T4" fmla="*/ 273 w 386"/>
                <a:gd name="T5" fmla="*/ 18 h 385"/>
                <a:gd name="T6" fmla="*/ 194 w 386"/>
                <a:gd name="T7" fmla="*/ 0 h 385"/>
                <a:gd name="T8" fmla="*/ 115 w 386"/>
                <a:gd name="T9" fmla="*/ 18 h 385"/>
                <a:gd name="T10" fmla="*/ 2 w 386"/>
                <a:gd name="T11" fmla="*/ 194 h 385"/>
                <a:gd name="T12" fmla="*/ 194 w 386"/>
                <a:gd name="T13" fmla="*/ 385 h 385"/>
              </a:gdLst>
              <a:ahLst/>
              <a:cxnLst>
                <a:cxn ang="0">
                  <a:pos x="T0" y="T1"/>
                </a:cxn>
                <a:cxn ang="0">
                  <a:pos x="T2" y="T3"/>
                </a:cxn>
                <a:cxn ang="0">
                  <a:pos x="T4" y="T5"/>
                </a:cxn>
                <a:cxn ang="0">
                  <a:pos x="T6" y="T7"/>
                </a:cxn>
                <a:cxn ang="0">
                  <a:pos x="T8" y="T9"/>
                </a:cxn>
                <a:cxn ang="0">
                  <a:pos x="T10" y="T11"/>
                </a:cxn>
                <a:cxn ang="0">
                  <a:pos x="T12" y="T13"/>
                </a:cxn>
              </a:cxnLst>
              <a:rect l="0" t="0" r="r" b="b"/>
              <a:pathLst>
                <a:path w="386" h="385">
                  <a:moveTo>
                    <a:pt x="194" y="385"/>
                  </a:moveTo>
                  <a:cubicBezTo>
                    <a:pt x="300" y="385"/>
                    <a:pt x="386" y="300"/>
                    <a:pt x="386" y="194"/>
                  </a:cubicBezTo>
                  <a:cubicBezTo>
                    <a:pt x="386" y="115"/>
                    <a:pt x="338" y="49"/>
                    <a:pt x="273" y="18"/>
                  </a:cubicBezTo>
                  <a:cubicBezTo>
                    <a:pt x="248" y="6"/>
                    <a:pt x="221" y="0"/>
                    <a:pt x="194" y="0"/>
                  </a:cubicBezTo>
                  <a:cubicBezTo>
                    <a:pt x="167" y="0"/>
                    <a:pt x="138" y="6"/>
                    <a:pt x="115" y="18"/>
                  </a:cubicBezTo>
                  <a:cubicBezTo>
                    <a:pt x="50" y="47"/>
                    <a:pt x="2" y="115"/>
                    <a:pt x="2" y="194"/>
                  </a:cubicBezTo>
                  <a:cubicBezTo>
                    <a:pt x="0" y="300"/>
                    <a:pt x="88" y="385"/>
                    <a:pt x="194" y="385"/>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166">
              <a:extLst>
                <a:ext uri="{FF2B5EF4-FFF2-40B4-BE49-F238E27FC236}">
                  <a16:creationId xmlns:a16="http://schemas.microsoft.com/office/drawing/2014/main" id="{8D0288D2-91F2-47C3-8CA1-40EB798428B8}"/>
                </a:ext>
              </a:extLst>
            </p:cNvPr>
            <p:cNvSpPr>
              <a:spLocks/>
            </p:cNvSpPr>
            <p:nvPr/>
          </p:nvSpPr>
          <p:spPr bwMode="auto">
            <a:xfrm>
              <a:off x="6253163" y="1673226"/>
              <a:ext cx="173038" cy="87313"/>
            </a:xfrm>
            <a:custGeom>
              <a:avLst/>
              <a:gdLst>
                <a:gd name="T0" fmla="*/ 289 w 578"/>
                <a:gd name="T1" fmla="*/ 0 h 289"/>
                <a:gd name="T2" fmla="*/ 0 w 578"/>
                <a:gd name="T3" fmla="*/ 289 h 289"/>
                <a:gd name="T4" fmla="*/ 578 w 578"/>
                <a:gd name="T5" fmla="*/ 289 h 289"/>
                <a:gd name="T6" fmla="*/ 289 w 578"/>
                <a:gd name="T7" fmla="*/ 0 h 289"/>
              </a:gdLst>
              <a:ahLst/>
              <a:cxnLst>
                <a:cxn ang="0">
                  <a:pos x="T0" y="T1"/>
                </a:cxn>
                <a:cxn ang="0">
                  <a:pos x="T2" y="T3"/>
                </a:cxn>
                <a:cxn ang="0">
                  <a:pos x="T4" y="T5"/>
                </a:cxn>
                <a:cxn ang="0">
                  <a:pos x="T6" y="T7"/>
                </a:cxn>
              </a:cxnLst>
              <a:rect l="0" t="0" r="r" b="b"/>
              <a:pathLst>
                <a:path w="578" h="289">
                  <a:moveTo>
                    <a:pt x="289" y="0"/>
                  </a:moveTo>
                  <a:cubicBezTo>
                    <a:pt x="129" y="0"/>
                    <a:pt x="0" y="129"/>
                    <a:pt x="0" y="289"/>
                  </a:cubicBezTo>
                  <a:lnTo>
                    <a:pt x="578" y="289"/>
                  </a:lnTo>
                  <a:cubicBezTo>
                    <a:pt x="578" y="131"/>
                    <a:pt x="447" y="0"/>
                    <a:pt x="289"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167">
              <a:extLst>
                <a:ext uri="{FF2B5EF4-FFF2-40B4-BE49-F238E27FC236}">
                  <a16:creationId xmlns:a16="http://schemas.microsoft.com/office/drawing/2014/main" id="{9649137B-EBCA-4AD8-81DE-FC3E85A84D09}"/>
                </a:ext>
              </a:extLst>
            </p:cNvPr>
            <p:cNvSpPr>
              <a:spLocks/>
            </p:cNvSpPr>
            <p:nvPr/>
          </p:nvSpPr>
          <p:spPr bwMode="auto">
            <a:xfrm>
              <a:off x="6161088" y="1703388"/>
              <a:ext cx="79375" cy="57150"/>
            </a:xfrm>
            <a:custGeom>
              <a:avLst/>
              <a:gdLst>
                <a:gd name="T0" fmla="*/ 0 w 268"/>
                <a:gd name="T1" fmla="*/ 194 h 194"/>
                <a:gd name="T2" fmla="*/ 225 w 268"/>
                <a:gd name="T3" fmla="*/ 194 h 194"/>
                <a:gd name="T4" fmla="*/ 268 w 268"/>
                <a:gd name="T5" fmla="*/ 18 h 194"/>
                <a:gd name="T6" fmla="*/ 192 w 268"/>
                <a:gd name="T7" fmla="*/ 3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5" y="194"/>
                  </a:lnTo>
                  <a:cubicBezTo>
                    <a:pt x="225" y="131"/>
                    <a:pt x="241" y="73"/>
                    <a:pt x="268" y="18"/>
                  </a:cubicBezTo>
                  <a:cubicBezTo>
                    <a:pt x="246" y="7"/>
                    <a:pt x="219" y="3"/>
                    <a:pt x="192" y="3"/>
                  </a:cubicBezTo>
                  <a:cubicBezTo>
                    <a:pt x="86"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168">
              <a:extLst>
                <a:ext uri="{FF2B5EF4-FFF2-40B4-BE49-F238E27FC236}">
                  <a16:creationId xmlns:a16="http://schemas.microsoft.com/office/drawing/2014/main" id="{064CBC0E-BFBA-483F-8015-6CDB86B53D41}"/>
                </a:ext>
              </a:extLst>
            </p:cNvPr>
            <p:cNvSpPr>
              <a:spLocks/>
            </p:cNvSpPr>
            <p:nvPr/>
          </p:nvSpPr>
          <p:spPr bwMode="auto">
            <a:xfrm>
              <a:off x="6173788" y="1603376"/>
              <a:ext cx="87313" cy="85725"/>
            </a:xfrm>
            <a:custGeom>
              <a:avLst/>
              <a:gdLst>
                <a:gd name="T0" fmla="*/ 145 w 289"/>
                <a:gd name="T1" fmla="*/ 0 h 288"/>
                <a:gd name="T2" fmla="*/ 0 w 289"/>
                <a:gd name="T3" fmla="*/ 144 h 288"/>
                <a:gd name="T4" fmla="*/ 52 w 289"/>
                <a:gd name="T5" fmla="*/ 254 h 288"/>
                <a:gd name="T6" fmla="*/ 136 w 289"/>
                <a:gd name="T7" fmla="*/ 288 h 288"/>
                <a:gd name="T8" fmla="*/ 145 w 289"/>
                <a:gd name="T9" fmla="*/ 288 h 288"/>
                <a:gd name="T10" fmla="*/ 154 w 289"/>
                <a:gd name="T11" fmla="*/ 288 h 288"/>
                <a:gd name="T12" fmla="*/ 237 w 289"/>
                <a:gd name="T13" fmla="*/ 254 h 288"/>
                <a:gd name="T14" fmla="*/ 289 w 289"/>
                <a:gd name="T15" fmla="*/ 144 h 288"/>
                <a:gd name="T16" fmla="*/ 145 w 289"/>
                <a:gd name="T17"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8">
                  <a:moveTo>
                    <a:pt x="145" y="0"/>
                  </a:moveTo>
                  <a:cubicBezTo>
                    <a:pt x="66" y="0"/>
                    <a:pt x="0" y="65"/>
                    <a:pt x="0" y="144"/>
                  </a:cubicBezTo>
                  <a:cubicBezTo>
                    <a:pt x="0" y="189"/>
                    <a:pt x="20" y="227"/>
                    <a:pt x="52" y="254"/>
                  </a:cubicBezTo>
                  <a:cubicBezTo>
                    <a:pt x="75" y="275"/>
                    <a:pt x="104" y="286"/>
                    <a:pt x="136" y="288"/>
                  </a:cubicBezTo>
                  <a:cubicBezTo>
                    <a:pt x="138" y="288"/>
                    <a:pt x="140" y="288"/>
                    <a:pt x="145" y="288"/>
                  </a:cubicBezTo>
                  <a:cubicBezTo>
                    <a:pt x="147" y="288"/>
                    <a:pt x="149" y="288"/>
                    <a:pt x="154" y="288"/>
                  </a:cubicBezTo>
                  <a:cubicBezTo>
                    <a:pt x="185" y="286"/>
                    <a:pt x="214" y="275"/>
                    <a:pt x="237" y="254"/>
                  </a:cubicBezTo>
                  <a:cubicBezTo>
                    <a:pt x="269" y="227"/>
                    <a:pt x="289" y="189"/>
                    <a:pt x="289" y="144"/>
                  </a:cubicBezTo>
                  <a:cubicBezTo>
                    <a:pt x="289" y="65"/>
                    <a:pt x="226" y="0"/>
                    <a:pt x="145"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198">
              <a:extLst>
                <a:ext uri="{FF2B5EF4-FFF2-40B4-BE49-F238E27FC236}">
                  <a16:creationId xmlns:a16="http://schemas.microsoft.com/office/drawing/2014/main" id="{51E3B6CD-699A-43DC-8469-D907414D6F0B}"/>
                </a:ext>
              </a:extLst>
            </p:cNvPr>
            <p:cNvSpPr>
              <a:spLocks/>
            </p:cNvSpPr>
            <p:nvPr/>
          </p:nvSpPr>
          <p:spPr bwMode="auto">
            <a:xfrm>
              <a:off x="5924550" y="1974851"/>
              <a:ext cx="963613"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199">
              <a:extLst>
                <a:ext uri="{FF2B5EF4-FFF2-40B4-BE49-F238E27FC236}">
                  <a16:creationId xmlns:a16="http://schemas.microsoft.com/office/drawing/2014/main" id="{208B4F71-F306-48E4-AAA6-7FB3722B54D1}"/>
                </a:ext>
              </a:extLst>
            </p:cNvPr>
            <p:cNvSpPr>
              <a:spLocks/>
            </p:cNvSpPr>
            <p:nvPr/>
          </p:nvSpPr>
          <p:spPr bwMode="auto">
            <a:xfrm>
              <a:off x="5924550" y="1974851"/>
              <a:ext cx="963613"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Rectangle 200">
              <a:extLst>
                <a:ext uri="{FF2B5EF4-FFF2-40B4-BE49-F238E27FC236}">
                  <a16:creationId xmlns:a16="http://schemas.microsoft.com/office/drawing/2014/main" id="{71B309CE-864B-439D-B807-19B2474E4E76}"/>
                </a:ext>
              </a:extLst>
            </p:cNvPr>
            <p:cNvSpPr>
              <a:spLocks noChangeArrowheads="1"/>
            </p:cNvSpPr>
            <p:nvPr/>
          </p:nvSpPr>
          <p:spPr bwMode="auto">
            <a:xfrm>
              <a:off x="6119813" y="1995488"/>
              <a:ext cx="69691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Disposi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0" name="Rectangle 201">
              <a:extLst>
                <a:ext uri="{FF2B5EF4-FFF2-40B4-BE49-F238E27FC236}">
                  <a16:creationId xmlns:a16="http://schemas.microsoft.com/office/drawing/2014/main" id="{82725659-10AF-48CF-AC8B-B0BFB0B83858}"/>
                </a:ext>
              </a:extLst>
            </p:cNvPr>
            <p:cNvSpPr>
              <a:spLocks noChangeArrowheads="1"/>
            </p:cNvSpPr>
            <p:nvPr/>
          </p:nvSpPr>
          <p:spPr bwMode="auto">
            <a:xfrm>
              <a:off x="6221413" y="2147888"/>
              <a:ext cx="4762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view</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1" name="Line 202">
              <a:extLst>
                <a:ext uri="{FF2B5EF4-FFF2-40B4-BE49-F238E27FC236}">
                  <a16:creationId xmlns:a16="http://schemas.microsoft.com/office/drawing/2014/main" id="{0636EBD2-970E-40D9-9BA5-28984512F67E}"/>
                </a:ext>
              </a:extLst>
            </p:cNvPr>
            <p:cNvSpPr>
              <a:spLocks noChangeShapeType="1"/>
            </p:cNvSpPr>
            <p:nvPr/>
          </p:nvSpPr>
          <p:spPr bwMode="auto">
            <a:xfrm>
              <a:off x="5213350" y="979488"/>
              <a:ext cx="963613" cy="950913"/>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Freeform 203">
              <a:extLst>
                <a:ext uri="{FF2B5EF4-FFF2-40B4-BE49-F238E27FC236}">
                  <a16:creationId xmlns:a16="http://schemas.microsoft.com/office/drawing/2014/main" id="{9E1791EE-CE46-455B-A369-E56F77A9264B}"/>
                </a:ext>
              </a:extLst>
            </p:cNvPr>
            <p:cNvSpPr>
              <a:spLocks/>
            </p:cNvSpPr>
            <p:nvPr/>
          </p:nvSpPr>
          <p:spPr bwMode="auto">
            <a:xfrm>
              <a:off x="6134100" y="1885951"/>
              <a:ext cx="87313" cy="88900"/>
            </a:xfrm>
            <a:custGeom>
              <a:avLst/>
              <a:gdLst>
                <a:gd name="T0" fmla="*/ 297 w 297"/>
                <a:gd name="T1" fmla="*/ 295 h 295"/>
                <a:gd name="T2" fmla="*/ 0 w 297"/>
                <a:gd name="T3" fmla="*/ 198 h 295"/>
                <a:gd name="T4" fmla="*/ 196 w 297"/>
                <a:gd name="T5" fmla="*/ 0 h 295"/>
                <a:gd name="T6" fmla="*/ 297 w 297"/>
                <a:gd name="T7" fmla="*/ 295 h 295"/>
              </a:gdLst>
              <a:ahLst/>
              <a:cxnLst>
                <a:cxn ang="0">
                  <a:pos x="T0" y="T1"/>
                </a:cxn>
                <a:cxn ang="0">
                  <a:pos x="T2" y="T3"/>
                </a:cxn>
                <a:cxn ang="0">
                  <a:pos x="T4" y="T5"/>
                </a:cxn>
                <a:cxn ang="0">
                  <a:pos x="T6" y="T7"/>
                </a:cxn>
              </a:cxnLst>
              <a:rect l="0" t="0" r="r" b="b"/>
              <a:pathLst>
                <a:path w="297" h="295">
                  <a:moveTo>
                    <a:pt x="297" y="295"/>
                  </a:moveTo>
                  <a:lnTo>
                    <a:pt x="0" y="198"/>
                  </a:lnTo>
                  <a:cubicBezTo>
                    <a:pt x="93" y="167"/>
                    <a:pt x="166" y="93"/>
                    <a:pt x="196" y="0"/>
                  </a:cubicBezTo>
                  <a:lnTo>
                    <a:pt x="297" y="295"/>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Rectangle 217">
              <a:extLst>
                <a:ext uri="{FF2B5EF4-FFF2-40B4-BE49-F238E27FC236}">
                  <a16:creationId xmlns:a16="http://schemas.microsoft.com/office/drawing/2014/main" id="{10D549B1-7BE7-40CA-BAA9-08857B04CA0E}"/>
                </a:ext>
              </a:extLst>
            </p:cNvPr>
            <p:cNvSpPr>
              <a:spLocks noChangeArrowheads="1"/>
            </p:cNvSpPr>
            <p:nvPr/>
          </p:nvSpPr>
          <p:spPr bwMode="auto">
            <a:xfrm>
              <a:off x="6465888" y="2344738"/>
              <a:ext cx="13398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a retention label may reques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4" name="Rectangle 218">
              <a:extLst>
                <a:ext uri="{FF2B5EF4-FFF2-40B4-BE49-F238E27FC236}">
                  <a16:creationId xmlns:a16="http://schemas.microsoft.com/office/drawing/2014/main" id="{E4242D25-E2E4-4897-B214-2D2E761B1747}"/>
                </a:ext>
              </a:extLst>
            </p:cNvPr>
            <p:cNvSpPr>
              <a:spLocks noChangeArrowheads="1"/>
            </p:cNvSpPr>
            <p:nvPr/>
          </p:nvSpPr>
          <p:spPr bwMode="auto">
            <a:xfrm>
              <a:off x="6276975" y="2489201"/>
              <a:ext cx="16827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an explicit review before deleting d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5" name="Freeform 222">
              <a:extLst>
                <a:ext uri="{FF2B5EF4-FFF2-40B4-BE49-F238E27FC236}">
                  <a16:creationId xmlns:a16="http://schemas.microsoft.com/office/drawing/2014/main" id="{86401BC0-90DA-44CE-B417-8ED20D40FA9F}"/>
                </a:ext>
              </a:extLst>
            </p:cNvPr>
            <p:cNvSpPr>
              <a:spLocks noEditPoints="1"/>
            </p:cNvSpPr>
            <p:nvPr/>
          </p:nvSpPr>
          <p:spPr bwMode="auto">
            <a:xfrm>
              <a:off x="5264150" y="2381251"/>
              <a:ext cx="1079500" cy="793750"/>
            </a:xfrm>
            <a:custGeom>
              <a:avLst/>
              <a:gdLst>
                <a:gd name="T0" fmla="*/ 189 w 3623"/>
                <a:gd name="T1" fmla="*/ 2503 h 2666"/>
                <a:gd name="T2" fmla="*/ 208 w 3623"/>
                <a:gd name="T3" fmla="*/ 2529 h 2666"/>
                <a:gd name="T4" fmla="*/ 5 w 3623"/>
                <a:gd name="T5" fmla="*/ 2658 h 2666"/>
                <a:gd name="T6" fmla="*/ 318 w 3623"/>
                <a:gd name="T7" fmla="*/ 2408 h 2666"/>
                <a:gd name="T8" fmla="*/ 521 w 3623"/>
                <a:gd name="T9" fmla="*/ 2279 h 2666"/>
                <a:gd name="T10" fmla="*/ 337 w 3623"/>
                <a:gd name="T11" fmla="*/ 2434 h 2666"/>
                <a:gd name="T12" fmla="*/ 318 w 3623"/>
                <a:gd name="T13" fmla="*/ 2408 h 2666"/>
                <a:gd name="T14" fmla="*/ 808 w 3623"/>
                <a:gd name="T15" fmla="*/ 2049 h 2666"/>
                <a:gd name="T16" fmla="*/ 827 w 3623"/>
                <a:gd name="T17" fmla="*/ 2074 h 2666"/>
                <a:gd name="T18" fmla="*/ 624 w 3623"/>
                <a:gd name="T19" fmla="*/ 2203 h 2666"/>
                <a:gd name="T20" fmla="*/ 937 w 3623"/>
                <a:gd name="T21" fmla="*/ 1954 h 2666"/>
                <a:gd name="T22" fmla="*/ 1140 w 3623"/>
                <a:gd name="T23" fmla="*/ 1825 h 2666"/>
                <a:gd name="T24" fmla="*/ 956 w 3623"/>
                <a:gd name="T25" fmla="*/ 1980 h 2666"/>
                <a:gd name="T26" fmla="*/ 937 w 3623"/>
                <a:gd name="T27" fmla="*/ 1954 h 2666"/>
                <a:gd name="T28" fmla="*/ 1428 w 3623"/>
                <a:gd name="T29" fmla="*/ 1594 h 2666"/>
                <a:gd name="T30" fmla="*/ 1447 w 3623"/>
                <a:gd name="T31" fmla="*/ 1620 h 2666"/>
                <a:gd name="T32" fmla="*/ 1244 w 3623"/>
                <a:gd name="T33" fmla="*/ 1749 h 2666"/>
                <a:gd name="T34" fmla="*/ 1557 w 3623"/>
                <a:gd name="T35" fmla="*/ 1500 h 2666"/>
                <a:gd name="T36" fmla="*/ 1760 w 3623"/>
                <a:gd name="T37" fmla="*/ 1371 h 2666"/>
                <a:gd name="T38" fmla="*/ 1576 w 3623"/>
                <a:gd name="T39" fmla="*/ 1526 h 2666"/>
                <a:gd name="T40" fmla="*/ 1557 w 3623"/>
                <a:gd name="T41" fmla="*/ 1500 h 2666"/>
                <a:gd name="T42" fmla="*/ 2047 w 3623"/>
                <a:gd name="T43" fmla="*/ 1140 h 2666"/>
                <a:gd name="T44" fmla="*/ 2066 w 3623"/>
                <a:gd name="T45" fmla="*/ 1166 h 2666"/>
                <a:gd name="T46" fmla="*/ 1863 w 3623"/>
                <a:gd name="T47" fmla="*/ 1295 h 2666"/>
                <a:gd name="T48" fmla="*/ 2176 w 3623"/>
                <a:gd name="T49" fmla="*/ 1046 h 2666"/>
                <a:gd name="T50" fmla="*/ 2379 w 3623"/>
                <a:gd name="T51" fmla="*/ 917 h 2666"/>
                <a:gd name="T52" fmla="*/ 2195 w 3623"/>
                <a:gd name="T53" fmla="*/ 1072 h 2666"/>
                <a:gd name="T54" fmla="*/ 2176 w 3623"/>
                <a:gd name="T55" fmla="*/ 1046 h 2666"/>
                <a:gd name="T56" fmla="*/ 2666 w 3623"/>
                <a:gd name="T57" fmla="*/ 686 h 2666"/>
                <a:gd name="T58" fmla="*/ 2685 w 3623"/>
                <a:gd name="T59" fmla="*/ 712 h 2666"/>
                <a:gd name="T60" fmla="*/ 2482 w 3623"/>
                <a:gd name="T61" fmla="*/ 841 h 2666"/>
                <a:gd name="T62" fmla="*/ 2795 w 3623"/>
                <a:gd name="T63" fmla="*/ 592 h 2666"/>
                <a:gd name="T64" fmla="*/ 2998 w 3623"/>
                <a:gd name="T65" fmla="*/ 463 h 2666"/>
                <a:gd name="T66" fmla="*/ 2814 w 3623"/>
                <a:gd name="T67" fmla="*/ 617 h 2666"/>
                <a:gd name="T68" fmla="*/ 2795 w 3623"/>
                <a:gd name="T69" fmla="*/ 592 h 2666"/>
                <a:gd name="T70" fmla="*/ 3286 w 3623"/>
                <a:gd name="T71" fmla="*/ 232 h 2666"/>
                <a:gd name="T72" fmla="*/ 3305 w 3623"/>
                <a:gd name="T73" fmla="*/ 258 h 2666"/>
                <a:gd name="T74" fmla="*/ 3102 w 3623"/>
                <a:gd name="T75" fmla="*/ 387 h 2666"/>
                <a:gd name="T76" fmla="*/ 3415 w 3623"/>
                <a:gd name="T77" fmla="*/ 137 h 2666"/>
                <a:gd name="T78" fmla="*/ 3618 w 3623"/>
                <a:gd name="T79" fmla="*/ 8 h 2666"/>
                <a:gd name="T80" fmla="*/ 3434 w 3623"/>
                <a:gd name="T81" fmla="*/ 163 h 2666"/>
                <a:gd name="T82" fmla="*/ 3415 w 3623"/>
                <a:gd name="T83" fmla="*/ 137 h 2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3" h="2666">
                  <a:moveTo>
                    <a:pt x="8" y="2635"/>
                  </a:moveTo>
                  <a:lnTo>
                    <a:pt x="189" y="2503"/>
                  </a:lnTo>
                  <a:cubicBezTo>
                    <a:pt x="196" y="2497"/>
                    <a:pt x="206" y="2499"/>
                    <a:pt x="211" y="2506"/>
                  </a:cubicBezTo>
                  <a:cubicBezTo>
                    <a:pt x="217" y="2513"/>
                    <a:pt x="215" y="2523"/>
                    <a:pt x="208" y="2529"/>
                  </a:cubicBezTo>
                  <a:lnTo>
                    <a:pt x="27" y="2661"/>
                  </a:lnTo>
                  <a:cubicBezTo>
                    <a:pt x="20" y="2666"/>
                    <a:pt x="10" y="2665"/>
                    <a:pt x="5" y="2658"/>
                  </a:cubicBezTo>
                  <a:cubicBezTo>
                    <a:pt x="0" y="2650"/>
                    <a:pt x="1" y="2640"/>
                    <a:pt x="8" y="2635"/>
                  </a:cubicBezTo>
                  <a:close/>
                  <a:moveTo>
                    <a:pt x="318" y="2408"/>
                  </a:moveTo>
                  <a:lnTo>
                    <a:pt x="499" y="2276"/>
                  </a:lnTo>
                  <a:cubicBezTo>
                    <a:pt x="506" y="2270"/>
                    <a:pt x="516" y="2272"/>
                    <a:pt x="521" y="2279"/>
                  </a:cubicBezTo>
                  <a:cubicBezTo>
                    <a:pt x="526" y="2286"/>
                    <a:pt x="525" y="2296"/>
                    <a:pt x="518" y="2301"/>
                  </a:cubicBezTo>
                  <a:lnTo>
                    <a:pt x="337" y="2434"/>
                  </a:lnTo>
                  <a:cubicBezTo>
                    <a:pt x="330" y="2439"/>
                    <a:pt x="320" y="2438"/>
                    <a:pt x="315" y="2430"/>
                  </a:cubicBezTo>
                  <a:cubicBezTo>
                    <a:pt x="309" y="2423"/>
                    <a:pt x="311" y="2413"/>
                    <a:pt x="318" y="2408"/>
                  </a:cubicBezTo>
                  <a:close/>
                  <a:moveTo>
                    <a:pt x="628" y="2181"/>
                  </a:moveTo>
                  <a:lnTo>
                    <a:pt x="808" y="2049"/>
                  </a:lnTo>
                  <a:cubicBezTo>
                    <a:pt x="815" y="2043"/>
                    <a:pt x="825" y="2045"/>
                    <a:pt x="831" y="2052"/>
                  </a:cubicBezTo>
                  <a:cubicBezTo>
                    <a:pt x="836" y="2059"/>
                    <a:pt x="834" y="2069"/>
                    <a:pt x="827" y="2074"/>
                  </a:cubicBezTo>
                  <a:lnTo>
                    <a:pt x="647" y="2207"/>
                  </a:lnTo>
                  <a:cubicBezTo>
                    <a:pt x="639" y="2212"/>
                    <a:pt x="629" y="2211"/>
                    <a:pt x="624" y="2203"/>
                  </a:cubicBezTo>
                  <a:cubicBezTo>
                    <a:pt x="619" y="2196"/>
                    <a:pt x="621" y="2186"/>
                    <a:pt x="628" y="2181"/>
                  </a:cubicBezTo>
                  <a:close/>
                  <a:moveTo>
                    <a:pt x="937" y="1954"/>
                  </a:moveTo>
                  <a:lnTo>
                    <a:pt x="1118" y="1822"/>
                  </a:lnTo>
                  <a:cubicBezTo>
                    <a:pt x="1125" y="1816"/>
                    <a:pt x="1135" y="1818"/>
                    <a:pt x="1140" y="1825"/>
                  </a:cubicBezTo>
                  <a:cubicBezTo>
                    <a:pt x="1146" y="1832"/>
                    <a:pt x="1144" y="1842"/>
                    <a:pt x="1137" y="1847"/>
                  </a:cubicBezTo>
                  <a:lnTo>
                    <a:pt x="956" y="1980"/>
                  </a:lnTo>
                  <a:cubicBezTo>
                    <a:pt x="949" y="1985"/>
                    <a:pt x="939" y="1983"/>
                    <a:pt x="934" y="1976"/>
                  </a:cubicBezTo>
                  <a:cubicBezTo>
                    <a:pt x="929" y="1969"/>
                    <a:pt x="930" y="1959"/>
                    <a:pt x="937" y="1954"/>
                  </a:cubicBezTo>
                  <a:close/>
                  <a:moveTo>
                    <a:pt x="1247" y="1727"/>
                  </a:moveTo>
                  <a:lnTo>
                    <a:pt x="1428" y="1594"/>
                  </a:lnTo>
                  <a:cubicBezTo>
                    <a:pt x="1435" y="1589"/>
                    <a:pt x="1445" y="1591"/>
                    <a:pt x="1450" y="1598"/>
                  </a:cubicBezTo>
                  <a:cubicBezTo>
                    <a:pt x="1455" y="1605"/>
                    <a:pt x="1454" y="1615"/>
                    <a:pt x="1447" y="1620"/>
                  </a:cubicBezTo>
                  <a:lnTo>
                    <a:pt x="1266" y="1753"/>
                  </a:lnTo>
                  <a:cubicBezTo>
                    <a:pt x="1259" y="1758"/>
                    <a:pt x="1249" y="1756"/>
                    <a:pt x="1244" y="1749"/>
                  </a:cubicBezTo>
                  <a:cubicBezTo>
                    <a:pt x="1238" y="1742"/>
                    <a:pt x="1240" y="1732"/>
                    <a:pt x="1247" y="1727"/>
                  </a:cubicBezTo>
                  <a:close/>
                  <a:moveTo>
                    <a:pt x="1557" y="1500"/>
                  </a:moveTo>
                  <a:lnTo>
                    <a:pt x="1737" y="1367"/>
                  </a:lnTo>
                  <a:cubicBezTo>
                    <a:pt x="1744" y="1362"/>
                    <a:pt x="1754" y="1364"/>
                    <a:pt x="1760" y="1371"/>
                  </a:cubicBezTo>
                  <a:cubicBezTo>
                    <a:pt x="1765" y="1378"/>
                    <a:pt x="1763" y="1388"/>
                    <a:pt x="1756" y="1393"/>
                  </a:cubicBezTo>
                  <a:lnTo>
                    <a:pt x="1576" y="1526"/>
                  </a:lnTo>
                  <a:cubicBezTo>
                    <a:pt x="1568" y="1531"/>
                    <a:pt x="1558" y="1529"/>
                    <a:pt x="1553" y="1522"/>
                  </a:cubicBezTo>
                  <a:cubicBezTo>
                    <a:pt x="1548" y="1515"/>
                    <a:pt x="1550" y="1505"/>
                    <a:pt x="1557" y="1500"/>
                  </a:cubicBezTo>
                  <a:close/>
                  <a:moveTo>
                    <a:pt x="1866" y="1273"/>
                  </a:moveTo>
                  <a:lnTo>
                    <a:pt x="2047" y="1140"/>
                  </a:lnTo>
                  <a:cubicBezTo>
                    <a:pt x="2054" y="1135"/>
                    <a:pt x="2064" y="1137"/>
                    <a:pt x="2069" y="1144"/>
                  </a:cubicBezTo>
                  <a:cubicBezTo>
                    <a:pt x="2075" y="1151"/>
                    <a:pt x="2073" y="1161"/>
                    <a:pt x="2066" y="1166"/>
                  </a:cubicBezTo>
                  <a:lnTo>
                    <a:pt x="1885" y="1299"/>
                  </a:lnTo>
                  <a:cubicBezTo>
                    <a:pt x="1878" y="1304"/>
                    <a:pt x="1868" y="1302"/>
                    <a:pt x="1863" y="1295"/>
                  </a:cubicBezTo>
                  <a:cubicBezTo>
                    <a:pt x="1858" y="1288"/>
                    <a:pt x="1859" y="1278"/>
                    <a:pt x="1866" y="1273"/>
                  </a:cubicBezTo>
                  <a:close/>
                  <a:moveTo>
                    <a:pt x="2176" y="1046"/>
                  </a:moveTo>
                  <a:lnTo>
                    <a:pt x="2357" y="913"/>
                  </a:lnTo>
                  <a:cubicBezTo>
                    <a:pt x="2364" y="908"/>
                    <a:pt x="2374" y="910"/>
                    <a:pt x="2379" y="917"/>
                  </a:cubicBezTo>
                  <a:cubicBezTo>
                    <a:pt x="2384" y="924"/>
                    <a:pt x="2383" y="934"/>
                    <a:pt x="2376" y="939"/>
                  </a:cubicBezTo>
                  <a:lnTo>
                    <a:pt x="2195" y="1072"/>
                  </a:lnTo>
                  <a:cubicBezTo>
                    <a:pt x="2188" y="1077"/>
                    <a:pt x="2178" y="1075"/>
                    <a:pt x="2173" y="1068"/>
                  </a:cubicBezTo>
                  <a:cubicBezTo>
                    <a:pt x="2167" y="1061"/>
                    <a:pt x="2169" y="1051"/>
                    <a:pt x="2176" y="1046"/>
                  </a:cubicBezTo>
                  <a:close/>
                  <a:moveTo>
                    <a:pt x="2486" y="819"/>
                  </a:moveTo>
                  <a:lnTo>
                    <a:pt x="2666" y="686"/>
                  </a:lnTo>
                  <a:cubicBezTo>
                    <a:pt x="2673" y="681"/>
                    <a:pt x="2684" y="683"/>
                    <a:pt x="2689" y="690"/>
                  </a:cubicBezTo>
                  <a:cubicBezTo>
                    <a:pt x="2694" y="697"/>
                    <a:pt x="2692" y="707"/>
                    <a:pt x="2685" y="712"/>
                  </a:cubicBezTo>
                  <a:lnTo>
                    <a:pt x="2505" y="844"/>
                  </a:lnTo>
                  <a:cubicBezTo>
                    <a:pt x="2498" y="850"/>
                    <a:pt x="2488" y="848"/>
                    <a:pt x="2482" y="841"/>
                  </a:cubicBezTo>
                  <a:cubicBezTo>
                    <a:pt x="2477" y="834"/>
                    <a:pt x="2479" y="824"/>
                    <a:pt x="2486" y="819"/>
                  </a:cubicBezTo>
                  <a:close/>
                  <a:moveTo>
                    <a:pt x="2795" y="592"/>
                  </a:moveTo>
                  <a:lnTo>
                    <a:pt x="2976" y="459"/>
                  </a:lnTo>
                  <a:cubicBezTo>
                    <a:pt x="2983" y="454"/>
                    <a:pt x="2993" y="455"/>
                    <a:pt x="2998" y="463"/>
                  </a:cubicBezTo>
                  <a:cubicBezTo>
                    <a:pt x="3004" y="470"/>
                    <a:pt x="3002" y="480"/>
                    <a:pt x="2995" y="485"/>
                  </a:cubicBezTo>
                  <a:lnTo>
                    <a:pt x="2814" y="617"/>
                  </a:lnTo>
                  <a:cubicBezTo>
                    <a:pt x="2807" y="623"/>
                    <a:pt x="2797" y="621"/>
                    <a:pt x="2792" y="614"/>
                  </a:cubicBezTo>
                  <a:cubicBezTo>
                    <a:pt x="2787" y="607"/>
                    <a:pt x="2788" y="597"/>
                    <a:pt x="2795" y="592"/>
                  </a:cubicBezTo>
                  <a:close/>
                  <a:moveTo>
                    <a:pt x="3105" y="365"/>
                  </a:moveTo>
                  <a:lnTo>
                    <a:pt x="3286" y="232"/>
                  </a:lnTo>
                  <a:cubicBezTo>
                    <a:pt x="3293" y="227"/>
                    <a:pt x="3303" y="228"/>
                    <a:pt x="3308" y="236"/>
                  </a:cubicBezTo>
                  <a:cubicBezTo>
                    <a:pt x="3313" y="243"/>
                    <a:pt x="3312" y="253"/>
                    <a:pt x="3305" y="258"/>
                  </a:cubicBezTo>
                  <a:lnTo>
                    <a:pt x="3124" y="390"/>
                  </a:lnTo>
                  <a:cubicBezTo>
                    <a:pt x="3117" y="396"/>
                    <a:pt x="3107" y="394"/>
                    <a:pt x="3102" y="387"/>
                  </a:cubicBezTo>
                  <a:cubicBezTo>
                    <a:pt x="3096" y="380"/>
                    <a:pt x="3098" y="370"/>
                    <a:pt x="3105" y="365"/>
                  </a:cubicBezTo>
                  <a:close/>
                  <a:moveTo>
                    <a:pt x="3415" y="137"/>
                  </a:moveTo>
                  <a:lnTo>
                    <a:pt x="3595" y="5"/>
                  </a:lnTo>
                  <a:cubicBezTo>
                    <a:pt x="3603" y="0"/>
                    <a:pt x="3613" y="1"/>
                    <a:pt x="3618" y="8"/>
                  </a:cubicBezTo>
                  <a:cubicBezTo>
                    <a:pt x="3623" y="16"/>
                    <a:pt x="3621" y="26"/>
                    <a:pt x="3614" y="31"/>
                  </a:cubicBezTo>
                  <a:lnTo>
                    <a:pt x="3434" y="163"/>
                  </a:lnTo>
                  <a:cubicBezTo>
                    <a:pt x="3427" y="168"/>
                    <a:pt x="3417" y="167"/>
                    <a:pt x="3411" y="160"/>
                  </a:cubicBezTo>
                  <a:cubicBezTo>
                    <a:pt x="3406" y="153"/>
                    <a:pt x="3408" y="143"/>
                    <a:pt x="3415" y="137"/>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3">
              <a:extLst>
                <a:ext uri="{FF2B5EF4-FFF2-40B4-BE49-F238E27FC236}">
                  <a16:creationId xmlns:a16="http://schemas.microsoft.com/office/drawing/2014/main" id="{6738332F-A300-4FE8-8B2E-74E8F780787C}"/>
                </a:ext>
              </a:extLst>
            </p:cNvPr>
            <p:cNvSpPr>
              <a:spLocks/>
            </p:cNvSpPr>
            <p:nvPr/>
          </p:nvSpPr>
          <p:spPr bwMode="auto">
            <a:xfrm>
              <a:off x="6313488" y="2336801"/>
              <a:ext cx="92075" cy="82550"/>
            </a:xfrm>
            <a:custGeom>
              <a:avLst/>
              <a:gdLst>
                <a:gd name="T0" fmla="*/ 308 w 308"/>
                <a:gd name="T1" fmla="*/ 0 h 277"/>
                <a:gd name="T2" fmla="*/ 165 w 308"/>
                <a:gd name="T3" fmla="*/ 277 h 277"/>
                <a:gd name="T4" fmla="*/ 0 w 308"/>
                <a:gd name="T5" fmla="*/ 52 h 277"/>
                <a:gd name="T6" fmla="*/ 308 w 308"/>
                <a:gd name="T7" fmla="*/ 0 h 277"/>
              </a:gdLst>
              <a:ahLst/>
              <a:cxnLst>
                <a:cxn ang="0">
                  <a:pos x="T0" y="T1"/>
                </a:cxn>
                <a:cxn ang="0">
                  <a:pos x="T2" y="T3"/>
                </a:cxn>
                <a:cxn ang="0">
                  <a:pos x="T4" y="T5"/>
                </a:cxn>
                <a:cxn ang="0">
                  <a:pos x="T6" y="T7"/>
                </a:cxn>
              </a:cxnLst>
              <a:rect l="0" t="0" r="r" b="b"/>
              <a:pathLst>
                <a:path w="308" h="277">
                  <a:moveTo>
                    <a:pt x="308" y="0"/>
                  </a:moveTo>
                  <a:lnTo>
                    <a:pt x="165" y="277"/>
                  </a:lnTo>
                  <a:cubicBezTo>
                    <a:pt x="149" y="181"/>
                    <a:pt x="87" y="97"/>
                    <a:pt x="0" y="52"/>
                  </a:cubicBezTo>
                  <a:lnTo>
                    <a:pt x="308"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 name="Group 3">
            <a:extLst>
              <a:ext uri="{FF2B5EF4-FFF2-40B4-BE49-F238E27FC236}">
                <a16:creationId xmlns:a16="http://schemas.microsoft.com/office/drawing/2014/main" id="{9A124BA6-370C-4677-B2C8-E30C58ADB439}"/>
              </a:ext>
            </a:extLst>
          </p:cNvPr>
          <p:cNvGrpSpPr/>
          <p:nvPr/>
        </p:nvGrpSpPr>
        <p:grpSpPr>
          <a:xfrm>
            <a:off x="4548188" y="979488"/>
            <a:ext cx="962025" cy="1381125"/>
            <a:chOff x="4548188" y="979488"/>
            <a:chExt cx="962025" cy="1381125"/>
          </a:xfrm>
        </p:grpSpPr>
        <p:grpSp>
          <p:nvGrpSpPr>
            <p:cNvPr id="14" name="Group 13">
              <a:extLst>
                <a:ext uri="{FF2B5EF4-FFF2-40B4-BE49-F238E27FC236}">
                  <a16:creationId xmlns:a16="http://schemas.microsoft.com/office/drawing/2014/main" id="{D7E97502-6A20-4269-B752-50C733E68D18}"/>
                </a:ext>
              </a:extLst>
            </p:cNvPr>
            <p:cNvGrpSpPr/>
            <p:nvPr/>
          </p:nvGrpSpPr>
          <p:grpSpPr>
            <a:xfrm>
              <a:off x="4548188" y="979488"/>
              <a:ext cx="962025" cy="1381125"/>
              <a:chOff x="4548188" y="979488"/>
              <a:chExt cx="962025" cy="1381125"/>
            </a:xfrm>
          </p:grpSpPr>
          <p:sp>
            <p:nvSpPr>
              <p:cNvPr id="15" name="Freeform 204">
                <a:extLst>
                  <a:ext uri="{FF2B5EF4-FFF2-40B4-BE49-F238E27FC236}">
                    <a16:creationId xmlns:a16="http://schemas.microsoft.com/office/drawing/2014/main" id="{185B88FE-A196-4ECC-8430-DFD6F9DCE752}"/>
                  </a:ext>
                </a:extLst>
              </p:cNvPr>
              <p:cNvSpPr>
                <a:spLocks/>
              </p:cNvSpPr>
              <p:nvPr/>
            </p:nvSpPr>
            <p:spPr bwMode="auto">
              <a:xfrm>
                <a:off x="4548188" y="1985963"/>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205">
                <a:extLst>
                  <a:ext uri="{FF2B5EF4-FFF2-40B4-BE49-F238E27FC236}">
                    <a16:creationId xmlns:a16="http://schemas.microsoft.com/office/drawing/2014/main" id="{1EAB6240-23DF-48CF-B624-828E27A3FDDD}"/>
                  </a:ext>
                </a:extLst>
              </p:cNvPr>
              <p:cNvSpPr>
                <a:spLocks/>
              </p:cNvSpPr>
              <p:nvPr/>
            </p:nvSpPr>
            <p:spPr bwMode="auto">
              <a:xfrm>
                <a:off x="4548188" y="1985963"/>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Rectangle 206">
                <a:extLst>
                  <a:ext uri="{FF2B5EF4-FFF2-40B4-BE49-F238E27FC236}">
                    <a16:creationId xmlns:a16="http://schemas.microsoft.com/office/drawing/2014/main" id="{5545BE2E-2F3B-4B5B-8395-5BC95088B290}"/>
                  </a:ext>
                </a:extLst>
              </p:cNvPr>
              <p:cNvSpPr>
                <a:spLocks noChangeArrowheads="1"/>
              </p:cNvSpPr>
              <p:nvPr/>
            </p:nvSpPr>
            <p:spPr bwMode="auto">
              <a:xfrm>
                <a:off x="4940300" y="2008188"/>
                <a:ext cx="2682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Calibri" panose="020F0502020204030204" pitchFamily="34" charset="0"/>
                  </a:rPr>
                  <a:t>Fil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8" name="Rectangle 207">
                <a:extLst>
                  <a:ext uri="{FF2B5EF4-FFF2-40B4-BE49-F238E27FC236}">
                    <a16:creationId xmlns:a16="http://schemas.microsoft.com/office/drawing/2014/main" id="{0CFE4502-31AB-493F-AB67-3190CE0B2CB3}"/>
                  </a:ext>
                </a:extLst>
              </p:cNvPr>
              <p:cNvSpPr>
                <a:spLocks noChangeArrowheads="1"/>
              </p:cNvSpPr>
              <p:nvPr/>
            </p:nvSpPr>
            <p:spPr bwMode="auto">
              <a:xfrm>
                <a:off x="4919663" y="2160588"/>
                <a:ext cx="3143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Pla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 name="Line 208">
                <a:extLst>
                  <a:ext uri="{FF2B5EF4-FFF2-40B4-BE49-F238E27FC236}">
                    <a16:creationId xmlns:a16="http://schemas.microsoft.com/office/drawing/2014/main" id="{CFDF16D9-C9D5-4F34-AB0C-F05A83CC9342}"/>
                  </a:ext>
                </a:extLst>
              </p:cNvPr>
              <p:cNvSpPr>
                <a:spLocks noChangeShapeType="1"/>
              </p:cNvSpPr>
              <p:nvPr/>
            </p:nvSpPr>
            <p:spPr bwMode="auto">
              <a:xfrm>
                <a:off x="5029200" y="979488"/>
                <a:ext cx="0" cy="944563"/>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209">
                <a:extLst>
                  <a:ext uri="{FF2B5EF4-FFF2-40B4-BE49-F238E27FC236}">
                    <a16:creationId xmlns:a16="http://schemas.microsoft.com/office/drawing/2014/main" id="{D1061C4B-1FBF-45F6-B7DE-0CE3CC1A4256}"/>
                  </a:ext>
                </a:extLst>
              </p:cNvPr>
              <p:cNvSpPr>
                <a:spLocks/>
              </p:cNvSpPr>
              <p:nvPr/>
            </p:nvSpPr>
            <p:spPr bwMode="auto">
              <a:xfrm>
                <a:off x="4987925" y="1903413"/>
                <a:ext cx="82550" cy="82550"/>
              </a:xfrm>
              <a:custGeom>
                <a:avLst/>
                <a:gdLst>
                  <a:gd name="T0" fmla="*/ 140 w 279"/>
                  <a:gd name="T1" fmla="*/ 279 h 279"/>
                  <a:gd name="T2" fmla="*/ 0 w 279"/>
                  <a:gd name="T3" fmla="*/ 0 h 279"/>
                  <a:gd name="T4" fmla="*/ 279 w 279"/>
                  <a:gd name="T5" fmla="*/ 0 h 279"/>
                  <a:gd name="T6" fmla="*/ 140 w 279"/>
                  <a:gd name="T7" fmla="*/ 279 h 279"/>
                </a:gdLst>
                <a:ahLst/>
                <a:cxnLst>
                  <a:cxn ang="0">
                    <a:pos x="T0" y="T1"/>
                  </a:cxn>
                  <a:cxn ang="0">
                    <a:pos x="T2" y="T3"/>
                  </a:cxn>
                  <a:cxn ang="0">
                    <a:pos x="T4" y="T5"/>
                  </a:cxn>
                  <a:cxn ang="0">
                    <a:pos x="T6" y="T7"/>
                  </a:cxn>
                </a:cxnLst>
                <a:rect l="0" t="0" r="r" b="b"/>
                <a:pathLst>
                  <a:path w="279" h="279">
                    <a:moveTo>
                      <a:pt x="140" y="279"/>
                    </a:moveTo>
                    <a:lnTo>
                      <a:pt x="0" y="0"/>
                    </a:lnTo>
                    <a:cubicBezTo>
                      <a:pt x="88" y="44"/>
                      <a:pt x="191" y="44"/>
                      <a:pt x="279" y="0"/>
                    </a:cubicBezTo>
                    <a:lnTo>
                      <a:pt x="140" y="27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8" name="Freeform 204">
              <a:extLst>
                <a:ext uri="{FF2B5EF4-FFF2-40B4-BE49-F238E27FC236}">
                  <a16:creationId xmlns:a16="http://schemas.microsoft.com/office/drawing/2014/main" id="{1C84FF5A-0336-45D8-A5C9-2DDBC43E0E27}"/>
                </a:ext>
              </a:extLst>
            </p:cNvPr>
            <p:cNvSpPr>
              <a:spLocks/>
            </p:cNvSpPr>
            <p:nvPr/>
          </p:nvSpPr>
          <p:spPr bwMode="auto">
            <a:xfrm>
              <a:off x="4548188" y="1985963"/>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05">
              <a:extLst>
                <a:ext uri="{FF2B5EF4-FFF2-40B4-BE49-F238E27FC236}">
                  <a16:creationId xmlns:a16="http://schemas.microsoft.com/office/drawing/2014/main" id="{76D49065-D7AA-4425-89A0-68C32BFDAE73}"/>
                </a:ext>
              </a:extLst>
            </p:cNvPr>
            <p:cNvSpPr>
              <a:spLocks/>
            </p:cNvSpPr>
            <p:nvPr/>
          </p:nvSpPr>
          <p:spPr bwMode="auto">
            <a:xfrm>
              <a:off x="4548188" y="1985963"/>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Rectangle 206">
              <a:extLst>
                <a:ext uri="{FF2B5EF4-FFF2-40B4-BE49-F238E27FC236}">
                  <a16:creationId xmlns:a16="http://schemas.microsoft.com/office/drawing/2014/main" id="{BDF5DC63-437C-4556-8E67-4F6E688ED0A2}"/>
                </a:ext>
              </a:extLst>
            </p:cNvPr>
            <p:cNvSpPr>
              <a:spLocks noChangeArrowheads="1"/>
            </p:cNvSpPr>
            <p:nvPr/>
          </p:nvSpPr>
          <p:spPr bwMode="auto">
            <a:xfrm>
              <a:off x="4940300" y="2008188"/>
              <a:ext cx="2682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Fil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 name="Freeform 209">
              <a:extLst>
                <a:ext uri="{FF2B5EF4-FFF2-40B4-BE49-F238E27FC236}">
                  <a16:creationId xmlns:a16="http://schemas.microsoft.com/office/drawing/2014/main" id="{B4BC50AB-E6E1-48C3-911D-D32B745BAEAC}"/>
                </a:ext>
              </a:extLst>
            </p:cNvPr>
            <p:cNvSpPr>
              <a:spLocks/>
            </p:cNvSpPr>
            <p:nvPr/>
          </p:nvSpPr>
          <p:spPr bwMode="auto">
            <a:xfrm>
              <a:off x="4987925" y="1903413"/>
              <a:ext cx="82550" cy="82550"/>
            </a:xfrm>
            <a:custGeom>
              <a:avLst/>
              <a:gdLst>
                <a:gd name="T0" fmla="*/ 140 w 279"/>
                <a:gd name="T1" fmla="*/ 279 h 279"/>
                <a:gd name="T2" fmla="*/ 0 w 279"/>
                <a:gd name="T3" fmla="*/ 0 h 279"/>
                <a:gd name="T4" fmla="*/ 279 w 279"/>
                <a:gd name="T5" fmla="*/ 0 h 279"/>
                <a:gd name="T6" fmla="*/ 140 w 279"/>
                <a:gd name="T7" fmla="*/ 279 h 279"/>
              </a:gdLst>
              <a:ahLst/>
              <a:cxnLst>
                <a:cxn ang="0">
                  <a:pos x="T0" y="T1"/>
                </a:cxn>
                <a:cxn ang="0">
                  <a:pos x="T2" y="T3"/>
                </a:cxn>
                <a:cxn ang="0">
                  <a:pos x="T4" y="T5"/>
                </a:cxn>
                <a:cxn ang="0">
                  <a:pos x="T6" y="T7"/>
                </a:cxn>
              </a:cxnLst>
              <a:rect l="0" t="0" r="r" b="b"/>
              <a:pathLst>
                <a:path w="279" h="279">
                  <a:moveTo>
                    <a:pt x="140" y="279"/>
                  </a:moveTo>
                  <a:lnTo>
                    <a:pt x="0" y="0"/>
                  </a:lnTo>
                  <a:cubicBezTo>
                    <a:pt x="88" y="44"/>
                    <a:pt x="191" y="44"/>
                    <a:pt x="279" y="0"/>
                  </a:cubicBezTo>
                  <a:lnTo>
                    <a:pt x="140" y="27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 name="Rectangle 207">
              <a:extLst>
                <a:ext uri="{FF2B5EF4-FFF2-40B4-BE49-F238E27FC236}">
                  <a16:creationId xmlns:a16="http://schemas.microsoft.com/office/drawing/2014/main" id="{E8D54055-1C25-43BA-A91C-13914B58B414}"/>
                </a:ext>
              </a:extLst>
            </p:cNvPr>
            <p:cNvSpPr>
              <a:spLocks noChangeArrowheads="1"/>
            </p:cNvSpPr>
            <p:nvPr/>
          </p:nvSpPr>
          <p:spPr bwMode="auto">
            <a:xfrm>
              <a:off x="4918676" y="2141908"/>
              <a:ext cx="3143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Calibri" panose="020F0502020204030204" pitchFamily="34" charset="0"/>
                </a:rPr>
                <a:t>Plan</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pic>
        <p:nvPicPr>
          <p:cNvPr id="7" name="Picture 6">
            <a:extLst>
              <a:ext uri="{FF2B5EF4-FFF2-40B4-BE49-F238E27FC236}">
                <a16:creationId xmlns:a16="http://schemas.microsoft.com/office/drawing/2014/main" id="{97B2AA88-EF09-B83A-42C1-C7E5C0DB7660}"/>
              </a:ext>
            </a:extLst>
          </p:cNvPr>
          <p:cNvPicPr>
            <a:picLocks noChangeAspect="1"/>
          </p:cNvPicPr>
          <p:nvPr/>
        </p:nvPicPr>
        <p:blipFill>
          <a:blip r:embed="rId2"/>
          <a:stretch>
            <a:fillRect/>
          </a:stretch>
        </p:blipFill>
        <p:spPr>
          <a:xfrm>
            <a:off x="5503863" y="3138488"/>
            <a:ext cx="2957513" cy="438150"/>
          </a:xfrm>
          <a:prstGeom prst="rect">
            <a:avLst/>
          </a:prstGeom>
        </p:spPr>
      </p:pic>
      <p:pic>
        <p:nvPicPr>
          <p:cNvPr id="9" name="Picture 8">
            <a:extLst>
              <a:ext uri="{FF2B5EF4-FFF2-40B4-BE49-F238E27FC236}">
                <a16:creationId xmlns:a16="http://schemas.microsoft.com/office/drawing/2014/main" id="{47E53429-B6EB-84BC-5FD9-17523316FC61}"/>
              </a:ext>
            </a:extLst>
          </p:cNvPr>
          <p:cNvPicPr>
            <a:picLocks noChangeAspect="1"/>
          </p:cNvPicPr>
          <p:nvPr/>
        </p:nvPicPr>
        <p:blipFill>
          <a:blip r:embed="rId3"/>
          <a:stretch>
            <a:fillRect/>
          </a:stretch>
        </p:blipFill>
        <p:spPr>
          <a:xfrm>
            <a:off x="5439415" y="3520767"/>
            <a:ext cx="2762250" cy="1090613"/>
          </a:xfrm>
          <a:prstGeom prst="rect">
            <a:avLst/>
          </a:prstGeom>
        </p:spPr>
      </p:pic>
      <p:pic>
        <p:nvPicPr>
          <p:cNvPr id="11" name="Picture 10">
            <a:extLst>
              <a:ext uri="{FF2B5EF4-FFF2-40B4-BE49-F238E27FC236}">
                <a16:creationId xmlns:a16="http://schemas.microsoft.com/office/drawing/2014/main" id="{4BD73236-BE1A-602B-48AA-3DAFDF49A85B}"/>
              </a:ext>
            </a:extLst>
          </p:cNvPr>
          <p:cNvPicPr>
            <a:picLocks noChangeAspect="1"/>
          </p:cNvPicPr>
          <p:nvPr/>
        </p:nvPicPr>
        <p:blipFill>
          <a:blip r:embed="rId4"/>
          <a:stretch>
            <a:fillRect/>
          </a:stretch>
        </p:blipFill>
        <p:spPr>
          <a:xfrm>
            <a:off x="2479930" y="3518753"/>
            <a:ext cx="2333625" cy="1543050"/>
          </a:xfrm>
          <a:prstGeom prst="rect">
            <a:avLst/>
          </a:prstGeom>
        </p:spPr>
      </p:pic>
      <p:pic>
        <p:nvPicPr>
          <p:cNvPr id="13" name="Picture 12">
            <a:extLst>
              <a:ext uri="{FF2B5EF4-FFF2-40B4-BE49-F238E27FC236}">
                <a16:creationId xmlns:a16="http://schemas.microsoft.com/office/drawing/2014/main" id="{E617C7EB-B865-1EFC-72B2-A7780748C909}"/>
              </a:ext>
            </a:extLst>
          </p:cNvPr>
          <p:cNvPicPr>
            <a:picLocks noChangeAspect="1"/>
          </p:cNvPicPr>
          <p:nvPr/>
        </p:nvPicPr>
        <p:blipFill>
          <a:blip r:embed="rId5"/>
          <a:stretch>
            <a:fillRect/>
          </a:stretch>
        </p:blipFill>
        <p:spPr>
          <a:xfrm>
            <a:off x="2479995" y="5227790"/>
            <a:ext cx="1228725" cy="1547813"/>
          </a:xfrm>
          <a:prstGeom prst="rect">
            <a:avLst/>
          </a:prstGeom>
        </p:spPr>
      </p:pic>
    </p:spTree>
    <p:extLst>
      <p:ext uri="{BB962C8B-B14F-4D97-AF65-F5344CB8AC3E}">
        <p14:creationId xmlns:p14="http://schemas.microsoft.com/office/powerpoint/2010/main" val="1278371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1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wipe(up)">
                                      <p:cBhvr>
                                        <p:cTn id="12" dur="1000"/>
                                        <p:tgtEl>
                                          <p:spTgt spid="3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1"/>
                                        </p:tgtEl>
                                        <p:attrNameLst>
                                          <p:attrName>style.visibility</p:attrName>
                                        </p:attrNameLst>
                                      </p:cBhvr>
                                      <p:to>
                                        <p:strVal val="visible"/>
                                      </p:to>
                                    </p:set>
                                    <p:animEffect transition="in" filter="wipe(left)">
                                      <p:cBhvr>
                                        <p:cTn id="17" dur="1000"/>
                                        <p:tgtEl>
                                          <p:spTgt spid="4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wipe(left)">
                                      <p:cBhvr>
                                        <p:cTn id="22" dur="10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wipe(left)">
                                      <p:cBhvr>
                                        <p:cTn id="27" dur="10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57"/>
                                        </p:tgtEl>
                                        <p:attrNameLst>
                                          <p:attrName>style.visibility</p:attrName>
                                        </p:attrNameLst>
                                      </p:cBhvr>
                                      <p:to>
                                        <p:strVal val="visible"/>
                                      </p:to>
                                    </p:set>
                                    <p:animEffect transition="in" filter="wipe(up)">
                                      <p:cBhvr>
                                        <p:cTn id="32" dur="1000"/>
                                        <p:tgtEl>
                                          <p:spTgt spid="57"/>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nodeType="click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wipe(up)">
                                      <p:cBhvr>
                                        <p:cTn id="37" dur="1000"/>
                                        <p:tgtEl>
                                          <p:spTgt spid="11"/>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1" fill="hold"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wipe(up)">
                                      <p:cBhvr>
                                        <p:cTn id="42"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0E41846-DDDA-6D67-0198-194D35E2F1D5}"/>
              </a:ext>
            </a:extLst>
          </p:cNvPr>
          <p:cNvPicPr>
            <a:picLocks noChangeAspect="1"/>
          </p:cNvPicPr>
          <p:nvPr/>
        </p:nvPicPr>
        <p:blipFill>
          <a:blip r:embed="rId2"/>
          <a:stretch>
            <a:fillRect/>
          </a:stretch>
        </p:blipFill>
        <p:spPr>
          <a:xfrm>
            <a:off x="6601299" y="771881"/>
            <a:ext cx="3267075" cy="2314575"/>
          </a:xfrm>
          <a:prstGeom prst="rect">
            <a:avLst/>
          </a:prstGeom>
        </p:spPr>
      </p:pic>
      <p:pic>
        <p:nvPicPr>
          <p:cNvPr id="17" name="Picture 16">
            <a:extLst>
              <a:ext uri="{FF2B5EF4-FFF2-40B4-BE49-F238E27FC236}">
                <a16:creationId xmlns:a16="http://schemas.microsoft.com/office/drawing/2014/main" id="{5C2D6C9F-7809-1394-8AE8-945AB051EB5E}"/>
              </a:ext>
            </a:extLst>
          </p:cNvPr>
          <p:cNvPicPr>
            <a:picLocks noChangeAspect="1"/>
          </p:cNvPicPr>
          <p:nvPr/>
        </p:nvPicPr>
        <p:blipFill>
          <a:blip r:embed="rId3"/>
          <a:stretch>
            <a:fillRect/>
          </a:stretch>
        </p:blipFill>
        <p:spPr>
          <a:xfrm>
            <a:off x="5471612" y="2446390"/>
            <a:ext cx="1395413" cy="752475"/>
          </a:xfrm>
          <a:prstGeom prst="rect">
            <a:avLst/>
          </a:prstGeom>
        </p:spPr>
      </p:pic>
      <p:sp>
        <p:nvSpPr>
          <p:cNvPr id="5" name="TextBox 4">
            <a:extLst>
              <a:ext uri="{FF2B5EF4-FFF2-40B4-BE49-F238E27FC236}">
                <a16:creationId xmlns:a16="http://schemas.microsoft.com/office/drawing/2014/main" id="{BCADBF0E-BB21-4A3A-9A5F-6401F1843D1A}"/>
              </a:ext>
            </a:extLst>
          </p:cNvPr>
          <p:cNvSpPr txBox="1"/>
          <p:nvPr/>
        </p:nvSpPr>
        <p:spPr>
          <a:xfrm rot="16200000">
            <a:off x="-3215421"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Information Governance </a:t>
            </a:r>
            <a:r>
              <a:rPr kumimoji="0" lang="en-US" sz="2000" b="0" i="0" u="none" strike="noStrike" kern="1200" cap="none" spc="0" normalizeH="0" baseline="0" noProof="0" dirty="0">
                <a:ln>
                  <a:noFill/>
                </a:ln>
                <a:solidFill>
                  <a:srgbClr val="FFFFFF"/>
                </a:solidFill>
                <a:effectLst/>
                <a:uLnTx/>
                <a:uFillTx/>
                <a:latin typeface="Segoe UI"/>
                <a:ea typeface="+mn-ea"/>
                <a:cs typeface="+mn-cs"/>
              </a:rPr>
              <a:t>– Summary</a:t>
            </a:r>
          </a:p>
        </p:txBody>
      </p:sp>
      <p:sp>
        <p:nvSpPr>
          <p:cNvPr id="2" name="TextBox 1">
            <a:extLst>
              <a:ext uri="{FF2B5EF4-FFF2-40B4-BE49-F238E27FC236}">
                <a16:creationId xmlns:a16="http://schemas.microsoft.com/office/drawing/2014/main" id="{91B1167E-F896-4ADD-BE61-F0549230A979}"/>
              </a:ext>
            </a:extLst>
          </p:cNvPr>
          <p:cNvSpPr txBox="1"/>
          <p:nvPr/>
        </p:nvSpPr>
        <p:spPr>
          <a:xfrm>
            <a:off x="10459296" y="89316"/>
            <a:ext cx="1622174" cy="861774"/>
          </a:xfrm>
          <a:prstGeom prst="rect">
            <a:avLst/>
          </a:prstGeom>
          <a:noFill/>
        </p:spPr>
        <p:txBody>
          <a:bodyPr wrap="none" lIns="0" tIns="0" rIns="0" bIns="0" rtlCol="0">
            <a:spAutoFit/>
          </a:bodyPr>
          <a:lstStyle/>
          <a:p>
            <a:pPr algn="ctr"/>
            <a:r>
              <a:rPr lang="en-US" sz="2800" b="1" dirty="0">
                <a:solidFill>
                  <a:schemeClr val="accent6">
                    <a:lumMod val="50000"/>
                  </a:schemeClr>
                </a:solidFill>
              </a:rPr>
              <a:t>Policies</a:t>
            </a:r>
          </a:p>
          <a:p>
            <a:pPr algn="ctr"/>
            <a:r>
              <a:rPr lang="en-US" sz="2800" b="1" dirty="0">
                <a:solidFill>
                  <a:schemeClr val="accent6">
                    <a:lumMod val="50000"/>
                  </a:schemeClr>
                </a:solidFill>
              </a:rPr>
              <a:t>Summary</a:t>
            </a:r>
          </a:p>
        </p:txBody>
      </p:sp>
      <p:grpSp>
        <p:nvGrpSpPr>
          <p:cNvPr id="109" name="Group 108">
            <a:extLst>
              <a:ext uri="{FF2B5EF4-FFF2-40B4-BE49-F238E27FC236}">
                <a16:creationId xmlns:a16="http://schemas.microsoft.com/office/drawing/2014/main" id="{35C8D398-EDF3-4CC6-9FAB-A7F18244BFC8}"/>
              </a:ext>
            </a:extLst>
          </p:cNvPr>
          <p:cNvGrpSpPr/>
          <p:nvPr/>
        </p:nvGrpSpPr>
        <p:grpSpPr>
          <a:xfrm>
            <a:off x="6850063" y="3827463"/>
            <a:ext cx="2266950" cy="2951163"/>
            <a:chOff x="6850063" y="3827463"/>
            <a:chExt cx="2266950" cy="2951163"/>
          </a:xfrm>
        </p:grpSpPr>
        <p:sp>
          <p:nvSpPr>
            <p:cNvPr id="110" name="Rectangle 11">
              <a:extLst>
                <a:ext uri="{FF2B5EF4-FFF2-40B4-BE49-F238E27FC236}">
                  <a16:creationId xmlns:a16="http://schemas.microsoft.com/office/drawing/2014/main" id="{25FA8B7F-EB27-436A-8322-F7BFBBBE21F1}"/>
                </a:ext>
              </a:extLst>
            </p:cNvPr>
            <p:cNvSpPr>
              <a:spLocks noChangeArrowheads="1"/>
            </p:cNvSpPr>
            <p:nvPr/>
          </p:nvSpPr>
          <p:spPr bwMode="auto">
            <a:xfrm>
              <a:off x="7075488" y="3827463"/>
              <a:ext cx="1931988" cy="2630488"/>
            </a:xfrm>
            <a:prstGeom prst="rect">
              <a:avLst/>
            </a:prstGeom>
            <a:solidFill>
              <a:srgbClr val="EBF1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12">
              <a:extLst>
                <a:ext uri="{FF2B5EF4-FFF2-40B4-BE49-F238E27FC236}">
                  <a16:creationId xmlns:a16="http://schemas.microsoft.com/office/drawing/2014/main" id="{2948C33F-655A-4282-9603-378409FA91F6}"/>
                </a:ext>
              </a:extLst>
            </p:cNvPr>
            <p:cNvSpPr>
              <a:spLocks noChangeArrowheads="1"/>
            </p:cNvSpPr>
            <p:nvPr/>
          </p:nvSpPr>
          <p:spPr bwMode="auto">
            <a:xfrm>
              <a:off x="7075488" y="3827463"/>
              <a:ext cx="1931988" cy="2630488"/>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 name="Freeform 17">
              <a:extLst>
                <a:ext uri="{FF2B5EF4-FFF2-40B4-BE49-F238E27FC236}">
                  <a16:creationId xmlns:a16="http://schemas.microsoft.com/office/drawing/2014/main" id="{EDD86696-93A3-4BE3-93E4-A4303146F42B}"/>
                </a:ext>
              </a:extLst>
            </p:cNvPr>
            <p:cNvSpPr>
              <a:spLocks/>
            </p:cNvSpPr>
            <p:nvPr/>
          </p:nvSpPr>
          <p:spPr bwMode="auto">
            <a:xfrm>
              <a:off x="7164388" y="4041776"/>
              <a:ext cx="963613"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18">
              <a:extLst>
                <a:ext uri="{FF2B5EF4-FFF2-40B4-BE49-F238E27FC236}">
                  <a16:creationId xmlns:a16="http://schemas.microsoft.com/office/drawing/2014/main" id="{F460B0E2-F189-42CE-8338-11F15A948FEE}"/>
                </a:ext>
              </a:extLst>
            </p:cNvPr>
            <p:cNvSpPr>
              <a:spLocks/>
            </p:cNvSpPr>
            <p:nvPr/>
          </p:nvSpPr>
          <p:spPr bwMode="auto">
            <a:xfrm>
              <a:off x="7164388" y="4041776"/>
              <a:ext cx="963613"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 name="Rectangle 19">
              <a:extLst>
                <a:ext uri="{FF2B5EF4-FFF2-40B4-BE49-F238E27FC236}">
                  <a16:creationId xmlns:a16="http://schemas.microsoft.com/office/drawing/2014/main" id="{A63B246D-ABB2-4ED4-88C8-1BD2307B4ACA}"/>
                </a:ext>
              </a:extLst>
            </p:cNvPr>
            <p:cNvSpPr>
              <a:spLocks noChangeArrowheads="1"/>
            </p:cNvSpPr>
            <p:nvPr/>
          </p:nvSpPr>
          <p:spPr bwMode="auto">
            <a:xfrm>
              <a:off x="7392988" y="4062413"/>
              <a:ext cx="625475"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ten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5" name="Rectangle 20">
              <a:extLst>
                <a:ext uri="{FF2B5EF4-FFF2-40B4-BE49-F238E27FC236}">
                  <a16:creationId xmlns:a16="http://schemas.microsoft.com/office/drawing/2014/main" id="{F1BE2B4D-0EE5-4BEF-9782-15290A66F63C}"/>
                </a:ext>
              </a:extLst>
            </p:cNvPr>
            <p:cNvSpPr>
              <a:spLocks noChangeArrowheads="1"/>
            </p:cNvSpPr>
            <p:nvPr/>
          </p:nvSpPr>
          <p:spPr bwMode="auto">
            <a:xfrm>
              <a:off x="7454900" y="4213226"/>
              <a:ext cx="490538"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Polici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6" name="Freeform 62">
              <a:extLst>
                <a:ext uri="{FF2B5EF4-FFF2-40B4-BE49-F238E27FC236}">
                  <a16:creationId xmlns:a16="http://schemas.microsoft.com/office/drawing/2014/main" id="{55EF5391-E8DC-420C-9304-CA3304FD0720}"/>
                </a:ext>
              </a:extLst>
            </p:cNvPr>
            <p:cNvSpPr>
              <a:spLocks/>
            </p:cNvSpPr>
            <p:nvPr/>
          </p:nvSpPr>
          <p:spPr bwMode="auto">
            <a:xfrm>
              <a:off x="7908925" y="4859338"/>
              <a:ext cx="963613"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5"/>
                    <a:pt x="3087" y="0"/>
                    <a:pt x="2909" y="0"/>
                  </a:cubicBezTo>
                  <a:lnTo>
                    <a:pt x="323" y="0"/>
                  </a:lnTo>
                  <a:cubicBezTo>
                    <a:pt x="145" y="0"/>
                    <a:pt x="0" y="145"/>
                    <a:pt x="0" y="323"/>
                  </a:cubicBezTo>
                  <a:lnTo>
                    <a:pt x="0" y="893"/>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63">
              <a:extLst>
                <a:ext uri="{FF2B5EF4-FFF2-40B4-BE49-F238E27FC236}">
                  <a16:creationId xmlns:a16="http://schemas.microsoft.com/office/drawing/2014/main" id="{F119FDA3-2A59-4A8B-A48E-196DED63894B}"/>
                </a:ext>
              </a:extLst>
            </p:cNvPr>
            <p:cNvSpPr>
              <a:spLocks/>
            </p:cNvSpPr>
            <p:nvPr/>
          </p:nvSpPr>
          <p:spPr bwMode="auto">
            <a:xfrm>
              <a:off x="7908925" y="4859338"/>
              <a:ext cx="963613"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5"/>
                    <a:pt x="3087" y="0"/>
                    <a:pt x="2909" y="0"/>
                  </a:cubicBezTo>
                  <a:lnTo>
                    <a:pt x="323" y="0"/>
                  </a:lnTo>
                  <a:cubicBezTo>
                    <a:pt x="145" y="0"/>
                    <a:pt x="0" y="145"/>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 name="Rectangle 64">
              <a:extLst>
                <a:ext uri="{FF2B5EF4-FFF2-40B4-BE49-F238E27FC236}">
                  <a16:creationId xmlns:a16="http://schemas.microsoft.com/office/drawing/2014/main" id="{5DC63627-4525-4478-A7D0-E611F7A0F2C6}"/>
                </a:ext>
              </a:extLst>
            </p:cNvPr>
            <p:cNvSpPr>
              <a:spLocks noChangeArrowheads="1"/>
            </p:cNvSpPr>
            <p:nvPr/>
          </p:nvSpPr>
          <p:spPr bwMode="auto">
            <a:xfrm>
              <a:off x="8147050" y="4954588"/>
              <a:ext cx="606425"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Loca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9" name="Freeform 65">
              <a:extLst>
                <a:ext uri="{FF2B5EF4-FFF2-40B4-BE49-F238E27FC236}">
                  <a16:creationId xmlns:a16="http://schemas.microsoft.com/office/drawing/2014/main" id="{C2C7F0F4-A656-4A39-9BB3-3E3971C84F1D}"/>
                </a:ext>
              </a:extLst>
            </p:cNvPr>
            <p:cNvSpPr>
              <a:spLocks/>
            </p:cNvSpPr>
            <p:nvPr/>
          </p:nvSpPr>
          <p:spPr bwMode="auto">
            <a:xfrm>
              <a:off x="7908925" y="5692776"/>
              <a:ext cx="963613" cy="363538"/>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5"/>
                    <a:pt x="3087" y="0"/>
                    <a:pt x="2909" y="0"/>
                  </a:cubicBezTo>
                  <a:lnTo>
                    <a:pt x="323" y="0"/>
                  </a:lnTo>
                  <a:cubicBezTo>
                    <a:pt x="145" y="0"/>
                    <a:pt x="0" y="145"/>
                    <a:pt x="0" y="323"/>
                  </a:cubicBezTo>
                  <a:lnTo>
                    <a:pt x="0" y="893"/>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66">
              <a:extLst>
                <a:ext uri="{FF2B5EF4-FFF2-40B4-BE49-F238E27FC236}">
                  <a16:creationId xmlns:a16="http://schemas.microsoft.com/office/drawing/2014/main" id="{E2DB2C39-2ECB-4A38-96D3-C812A0EA5EE3}"/>
                </a:ext>
              </a:extLst>
            </p:cNvPr>
            <p:cNvSpPr>
              <a:spLocks/>
            </p:cNvSpPr>
            <p:nvPr/>
          </p:nvSpPr>
          <p:spPr bwMode="auto">
            <a:xfrm>
              <a:off x="7908925" y="5692776"/>
              <a:ext cx="963613" cy="363538"/>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5"/>
                    <a:pt x="3087" y="0"/>
                    <a:pt x="2909" y="0"/>
                  </a:cubicBezTo>
                  <a:lnTo>
                    <a:pt x="323" y="0"/>
                  </a:lnTo>
                  <a:cubicBezTo>
                    <a:pt x="145" y="0"/>
                    <a:pt x="0" y="145"/>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1" name="Rectangle 67">
              <a:extLst>
                <a:ext uri="{FF2B5EF4-FFF2-40B4-BE49-F238E27FC236}">
                  <a16:creationId xmlns:a16="http://schemas.microsoft.com/office/drawing/2014/main" id="{F43F7BAB-C328-4724-AB51-01ADC3FC0D02}"/>
                </a:ext>
              </a:extLst>
            </p:cNvPr>
            <p:cNvSpPr>
              <a:spLocks noChangeArrowheads="1"/>
            </p:cNvSpPr>
            <p:nvPr/>
          </p:nvSpPr>
          <p:spPr bwMode="auto">
            <a:xfrm>
              <a:off x="8110538" y="5732463"/>
              <a:ext cx="654050"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Calibri" panose="020F0502020204030204" pitchFamily="34" charset="0"/>
                </a:rPr>
                <a:t>Retention &amp;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2" name="Rectangle 68">
              <a:extLst>
                <a:ext uri="{FF2B5EF4-FFF2-40B4-BE49-F238E27FC236}">
                  <a16:creationId xmlns:a16="http://schemas.microsoft.com/office/drawing/2014/main" id="{FFEA60F3-F6D2-45F2-9459-B7153FC99176}"/>
                </a:ext>
              </a:extLst>
            </p:cNvPr>
            <p:cNvSpPr>
              <a:spLocks noChangeArrowheads="1"/>
            </p:cNvSpPr>
            <p:nvPr/>
          </p:nvSpPr>
          <p:spPr bwMode="auto">
            <a:xfrm>
              <a:off x="7996238" y="5870576"/>
              <a:ext cx="858838"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Calibri" panose="020F0502020204030204" pitchFamily="34" charset="0"/>
                </a:rPr>
                <a:t>Deletion Setting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3" name="Freeform 69">
              <a:extLst>
                <a:ext uri="{FF2B5EF4-FFF2-40B4-BE49-F238E27FC236}">
                  <a16:creationId xmlns:a16="http://schemas.microsoft.com/office/drawing/2014/main" id="{5EFC1133-A899-4750-8D08-4629DBBE305F}"/>
                </a:ext>
              </a:extLst>
            </p:cNvPr>
            <p:cNvSpPr>
              <a:spLocks/>
            </p:cNvSpPr>
            <p:nvPr/>
          </p:nvSpPr>
          <p:spPr bwMode="auto">
            <a:xfrm>
              <a:off x="7646988" y="4403726"/>
              <a:ext cx="200025" cy="636588"/>
            </a:xfrm>
            <a:custGeom>
              <a:avLst/>
              <a:gdLst>
                <a:gd name="T0" fmla="*/ 0 w 126"/>
                <a:gd name="T1" fmla="*/ 0 h 401"/>
                <a:gd name="T2" fmla="*/ 0 w 126"/>
                <a:gd name="T3" fmla="*/ 401 h 401"/>
                <a:gd name="T4" fmla="*/ 126 w 126"/>
                <a:gd name="T5" fmla="*/ 401 h 401"/>
              </a:gdLst>
              <a:ahLst/>
              <a:cxnLst>
                <a:cxn ang="0">
                  <a:pos x="T0" y="T1"/>
                </a:cxn>
                <a:cxn ang="0">
                  <a:pos x="T2" y="T3"/>
                </a:cxn>
                <a:cxn ang="0">
                  <a:pos x="T4" y="T5"/>
                </a:cxn>
              </a:cxnLst>
              <a:rect l="0" t="0" r="r" b="b"/>
              <a:pathLst>
                <a:path w="126" h="401">
                  <a:moveTo>
                    <a:pt x="0" y="0"/>
                  </a:moveTo>
                  <a:lnTo>
                    <a:pt x="0" y="401"/>
                  </a:lnTo>
                  <a:lnTo>
                    <a:pt x="126" y="401"/>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4" name="Freeform 70">
              <a:extLst>
                <a:ext uri="{FF2B5EF4-FFF2-40B4-BE49-F238E27FC236}">
                  <a16:creationId xmlns:a16="http://schemas.microsoft.com/office/drawing/2014/main" id="{6144D640-429D-40CF-85D9-0D61B7BCDC71}"/>
                </a:ext>
              </a:extLst>
            </p:cNvPr>
            <p:cNvSpPr>
              <a:spLocks/>
            </p:cNvSpPr>
            <p:nvPr/>
          </p:nvSpPr>
          <p:spPr bwMode="auto">
            <a:xfrm>
              <a:off x="7826375" y="4999038"/>
              <a:ext cx="82550" cy="82550"/>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71">
              <a:extLst>
                <a:ext uri="{FF2B5EF4-FFF2-40B4-BE49-F238E27FC236}">
                  <a16:creationId xmlns:a16="http://schemas.microsoft.com/office/drawing/2014/main" id="{65AAA683-FF4E-4C49-991F-7646CA746D89}"/>
                </a:ext>
              </a:extLst>
            </p:cNvPr>
            <p:cNvSpPr>
              <a:spLocks/>
            </p:cNvSpPr>
            <p:nvPr/>
          </p:nvSpPr>
          <p:spPr bwMode="auto">
            <a:xfrm>
              <a:off x="7646988" y="4403726"/>
              <a:ext cx="200025" cy="1471613"/>
            </a:xfrm>
            <a:custGeom>
              <a:avLst/>
              <a:gdLst>
                <a:gd name="T0" fmla="*/ 0 w 126"/>
                <a:gd name="T1" fmla="*/ 0 h 927"/>
                <a:gd name="T2" fmla="*/ 0 w 126"/>
                <a:gd name="T3" fmla="*/ 927 h 927"/>
                <a:gd name="T4" fmla="*/ 126 w 126"/>
                <a:gd name="T5" fmla="*/ 927 h 927"/>
              </a:gdLst>
              <a:ahLst/>
              <a:cxnLst>
                <a:cxn ang="0">
                  <a:pos x="T0" y="T1"/>
                </a:cxn>
                <a:cxn ang="0">
                  <a:pos x="T2" y="T3"/>
                </a:cxn>
                <a:cxn ang="0">
                  <a:pos x="T4" y="T5"/>
                </a:cxn>
              </a:cxnLst>
              <a:rect l="0" t="0" r="r" b="b"/>
              <a:pathLst>
                <a:path w="126" h="927">
                  <a:moveTo>
                    <a:pt x="0" y="0"/>
                  </a:moveTo>
                  <a:lnTo>
                    <a:pt x="0" y="927"/>
                  </a:lnTo>
                  <a:lnTo>
                    <a:pt x="126" y="927"/>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6" name="Freeform 72">
              <a:extLst>
                <a:ext uri="{FF2B5EF4-FFF2-40B4-BE49-F238E27FC236}">
                  <a16:creationId xmlns:a16="http://schemas.microsoft.com/office/drawing/2014/main" id="{47E0165F-6AF4-4D9F-97CE-7E1D0AE275FF}"/>
                </a:ext>
              </a:extLst>
            </p:cNvPr>
            <p:cNvSpPr>
              <a:spLocks/>
            </p:cNvSpPr>
            <p:nvPr/>
          </p:nvSpPr>
          <p:spPr bwMode="auto">
            <a:xfrm>
              <a:off x="7826375" y="5832476"/>
              <a:ext cx="82550" cy="84138"/>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Rectangle 80">
              <a:extLst>
                <a:ext uri="{FF2B5EF4-FFF2-40B4-BE49-F238E27FC236}">
                  <a16:creationId xmlns:a16="http://schemas.microsoft.com/office/drawing/2014/main" id="{CA876C7B-6374-4848-B1A0-C8D9B7B6C724}"/>
                </a:ext>
              </a:extLst>
            </p:cNvPr>
            <p:cNvSpPr>
              <a:spLocks noChangeArrowheads="1"/>
            </p:cNvSpPr>
            <p:nvPr/>
          </p:nvSpPr>
          <p:spPr bwMode="auto">
            <a:xfrm>
              <a:off x="6850063" y="6497638"/>
              <a:ext cx="22669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automatically applies retention policies to the scop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8" name="Rectangle 81">
              <a:extLst>
                <a:ext uri="{FF2B5EF4-FFF2-40B4-BE49-F238E27FC236}">
                  <a16:creationId xmlns:a16="http://schemas.microsoft.com/office/drawing/2014/main" id="{6481AEE4-0784-4240-AA34-50EE2FF0F3FB}"/>
                </a:ext>
              </a:extLst>
            </p:cNvPr>
            <p:cNvSpPr>
              <a:spLocks noChangeArrowheads="1"/>
            </p:cNvSpPr>
            <p:nvPr/>
          </p:nvSpPr>
          <p:spPr bwMode="auto">
            <a:xfrm>
              <a:off x="6967538" y="6621463"/>
              <a:ext cx="20351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automatically propagates to the scope conten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9" name="Oval 128">
              <a:extLst>
                <a:ext uri="{FF2B5EF4-FFF2-40B4-BE49-F238E27FC236}">
                  <a16:creationId xmlns:a16="http://schemas.microsoft.com/office/drawing/2014/main" id="{93247DCF-C85A-465C-9BC2-B8C77895B2D8}"/>
                </a:ext>
              </a:extLst>
            </p:cNvPr>
            <p:cNvSpPr>
              <a:spLocks noChangeArrowheads="1"/>
            </p:cNvSpPr>
            <p:nvPr/>
          </p:nvSpPr>
          <p:spPr bwMode="auto">
            <a:xfrm>
              <a:off x="7132638" y="6143626"/>
              <a:ext cx="266700" cy="254000"/>
            </a:xfrm>
            <a:prstGeom prst="ellipse">
              <a:avLst/>
            </a:prstGeom>
            <a:solidFill>
              <a:srgbClr val="20586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Oval 129">
              <a:extLst>
                <a:ext uri="{FF2B5EF4-FFF2-40B4-BE49-F238E27FC236}">
                  <a16:creationId xmlns:a16="http://schemas.microsoft.com/office/drawing/2014/main" id="{8052DD26-E63F-4CF2-B9BF-D248AB1618A1}"/>
                </a:ext>
              </a:extLst>
            </p:cNvPr>
            <p:cNvSpPr>
              <a:spLocks noChangeArrowheads="1"/>
            </p:cNvSpPr>
            <p:nvPr/>
          </p:nvSpPr>
          <p:spPr bwMode="auto">
            <a:xfrm>
              <a:off x="7132638" y="6143626"/>
              <a:ext cx="266700" cy="254000"/>
            </a:xfrm>
            <a:prstGeom prst="ellipse">
              <a:avLst/>
            </a:pr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1" name="Rectangle 130">
              <a:extLst>
                <a:ext uri="{FF2B5EF4-FFF2-40B4-BE49-F238E27FC236}">
                  <a16:creationId xmlns:a16="http://schemas.microsoft.com/office/drawing/2014/main" id="{27703482-E0D3-48D6-A1D9-69AB051E2B5A}"/>
                </a:ext>
              </a:extLst>
            </p:cNvPr>
            <p:cNvSpPr>
              <a:spLocks noChangeArrowheads="1"/>
            </p:cNvSpPr>
            <p:nvPr/>
          </p:nvSpPr>
          <p:spPr bwMode="auto">
            <a:xfrm>
              <a:off x="7210425" y="6122988"/>
              <a:ext cx="238125"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a:ln>
                    <a:noFill/>
                  </a:ln>
                  <a:solidFill>
                    <a:srgbClr val="FFFFFF"/>
                  </a:solidFill>
                  <a:effectLst/>
                  <a:latin typeface="Calibri" panose="020F0502020204030204" pitchFamily="34" charset="0"/>
                </a:rPr>
                <a:t>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2" name="Rectangle 139">
              <a:extLst>
                <a:ext uri="{FF2B5EF4-FFF2-40B4-BE49-F238E27FC236}">
                  <a16:creationId xmlns:a16="http://schemas.microsoft.com/office/drawing/2014/main" id="{4F823325-EAC8-49C2-8623-6C73E76BFB67}"/>
                </a:ext>
              </a:extLst>
            </p:cNvPr>
            <p:cNvSpPr>
              <a:spLocks noChangeArrowheads="1"/>
            </p:cNvSpPr>
            <p:nvPr/>
          </p:nvSpPr>
          <p:spPr bwMode="auto">
            <a:xfrm>
              <a:off x="7439025" y="6135688"/>
              <a:ext cx="8953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a:ln>
                    <a:noFill/>
                  </a:ln>
                  <a:solidFill>
                    <a:srgbClr val="205867"/>
                  </a:solidFill>
                  <a:effectLst/>
                  <a:latin typeface="Segoe UI" panose="020B0502040204020203" pitchFamily="34" charset="0"/>
                </a:rPr>
                <a:t>Loca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pic>
        <p:nvPicPr>
          <p:cNvPr id="13" name="Picture 12">
            <a:extLst>
              <a:ext uri="{FF2B5EF4-FFF2-40B4-BE49-F238E27FC236}">
                <a16:creationId xmlns:a16="http://schemas.microsoft.com/office/drawing/2014/main" id="{1359EB62-BDD1-4F69-57DC-84B78F9A5F75}"/>
              </a:ext>
            </a:extLst>
          </p:cNvPr>
          <p:cNvPicPr>
            <a:picLocks noChangeAspect="1"/>
          </p:cNvPicPr>
          <p:nvPr/>
        </p:nvPicPr>
        <p:blipFill>
          <a:blip r:embed="rId4"/>
          <a:stretch>
            <a:fillRect/>
          </a:stretch>
        </p:blipFill>
        <p:spPr>
          <a:xfrm>
            <a:off x="5664200" y="34040"/>
            <a:ext cx="1852613" cy="914400"/>
          </a:xfrm>
          <a:prstGeom prst="rect">
            <a:avLst/>
          </a:prstGeom>
        </p:spPr>
      </p:pic>
      <p:pic>
        <p:nvPicPr>
          <p:cNvPr id="6" name="Picture 5">
            <a:extLst>
              <a:ext uri="{FF2B5EF4-FFF2-40B4-BE49-F238E27FC236}">
                <a16:creationId xmlns:a16="http://schemas.microsoft.com/office/drawing/2014/main" id="{45EA1782-0484-EA85-DD58-A124CC9FC5AB}"/>
              </a:ext>
            </a:extLst>
          </p:cNvPr>
          <p:cNvPicPr>
            <a:picLocks noChangeAspect="1"/>
          </p:cNvPicPr>
          <p:nvPr/>
        </p:nvPicPr>
        <p:blipFill>
          <a:blip r:embed="rId5"/>
          <a:stretch>
            <a:fillRect/>
          </a:stretch>
        </p:blipFill>
        <p:spPr>
          <a:xfrm>
            <a:off x="1250573" y="657175"/>
            <a:ext cx="1662113" cy="2466975"/>
          </a:xfrm>
          <a:prstGeom prst="rect">
            <a:avLst/>
          </a:prstGeom>
        </p:spPr>
      </p:pic>
      <p:pic>
        <p:nvPicPr>
          <p:cNvPr id="8" name="Picture 7">
            <a:extLst>
              <a:ext uri="{FF2B5EF4-FFF2-40B4-BE49-F238E27FC236}">
                <a16:creationId xmlns:a16="http://schemas.microsoft.com/office/drawing/2014/main" id="{AB156A9D-5DBB-FE4F-15A5-F4F826CF39D7}"/>
              </a:ext>
            </a:extLst>
          </p:cNvPr>
          <p:cNvPicPr>
            <a:picLocks noChangeAspect="1"/>
          </p:cNvPicPr>
          <p:nvPr/>
        </p:nvPicPr>
        <p:blipFill>
          <a:blip r:embed="rId6"/>
          <a:stretch>
            <a:fillRect/>
          </a:stretch>
        </p:blipFill>
        <p:spPr>
          <a:xfrm>
            <a:off x="2887259" y="882470"/>
            <a:ext cx="2938463" cy="1809750"/>
          </a:xfrm>
          <a:prstGeom prst="rect">
            <a:avLst/>
          </a:prstGeom>
        </p:spPr>
      </p:pic>
      <p:pic>
        <p:nvPicPr>
          <p:cNvPr id="12" name="Picture 11">
            <a:extLst>
              <a:ext uri="{FF2B5EF4-FFF2-40B4-BE49-F238E27FC236}">
                <a16:creationId xmlns:a16="http://schemas.microsoft.com/office/drawing/2014/main" id="{735F57A2-2402-775C-A5DA-B534970D6052}"/>
              </a:ext>
            </a:extLst>
          </p:cNvPr>
          <p:cNvPicPr>
            <a:picLocks noChangeAspect="1"/>
          </p:cNvPicPr>
          <p:nvPr/>
        </p:nvPicPr>
        <p:blipFill>
          <a:blip r:embed="rId7"/>
          <a:stretch>
            <a:fillRect/>
          </a:stretch>
        </p:blipFill>
        <p:spPr>
          <a:xfrm>
            <a:off x="1059132" y="2628512"/>
            <a:ext cx="2176463" cy="4219575"/>
          </a:xfrm>
          <a:prstGeom prst="rect">
            <a:avLst/>
          </a:prstGeom>
        </p:spPr>
      </p:pic>
      <p:pic>
        <p:nvPicPr>
          <p:cNvPr id="133" name="Picture 132">
            <a:extLst>
              <a:ext uri="{FF2B5EF4-FFF2-40B4-BE49-F238E27FC236}">
                <a16:creationId xmlns:a16="http://schemas.microsoft.com/office/drawing/2014/main" id="{9BFA725E-BCF3-A55B-9DE8-105ABBF16166}"/>
              </a:ext>
            </a:extLst>
          </p:cNvPr>
          <p:cNvPicPr>
            <a:picLocks noChangeAspect="1"/>
          </p:cNvPicPr>
          <p:nvPr/>
        </p:nvPicPr>
        <p:blipFill>
          <a:blip r:embed="rId8"/>
          <a:stretch>
            <a:fillRect/>
          </a:stretch>
        </p:blipFill>
        <p:spPr>
          <a:xfrm>
            <a:off x="4990803" y="889589"/>
            <a:ext cx="2328863" cy="1747838"/>
          </a:xfrm>
          <a:prstGeom prst="rect">
            <a:avLst/>
          </a:prstGeom>
        </p:spPr>
      </p:pic>
      <p:pic>
        <p:nvPicPr>
          <p:cNvPr id="135" name="Picture 134">
            <a:extLst>
              <a:ext uri="{FF2B5EF4-FFF2-40B4-BE49-F238E27FC236}">
                <a16:creationId xmlns:a16="http://schemas.microsoft.com/office/drawing/2014/main" id="{0731AF33-1C64-0BFA-0194-0D214A79028A}"/>
              </a:ext>
            </a:extLst>
          </p:cNvPr>
          <p:cNvPicPr>
            <a:picLocks noChangeAspect="1"/>
          </p:cNvPicPr>
          <p:nvPr/>
        </p:nvPicPr>
        <p:blipFill>
          <a:blip r:embed="rId9"/>
          <a:stretch>
            <a:fillRect/>
          </a:stretch>
        </p:blipFill>
        <p:spPr>
          <a:xfrm>
            <a:off x="5656950" y="889589"/>
            <a:ext cx="995363" cy="2109788"/>
          </a:xfrm>
          <a:prstGeom prst="rect">
            <a:avLst/>
          </a:prstGeom>
        </p:spPr>
      </p:pic>
      <p:pic>
        <p:nvPicPr>
          <p:cNvPr id="137" name="Picture 136">
            <a:extLst>
              <a:ext uri="{FF2B5EF4-FFF2-40B4-BE49-F238E27FC236}">
                <a16:creationId xmlns:a16="http://schemas.microsoft.com/office/drawing/2014/main" id="{1350EB66-05BF-F1F4-0F63-0F35207837A0}"/>
              </a:ext>
            </a:extLst>
          </p:cNvPr>
          <p:cNvPicPr>
            <a:picLocks noChangeAspect="1"/>
          </p:cNvPicPr>
          <p:nvPr/>
        </p:nvPicPr>
        <p:blipFill>
          <a:blip r:embed="rId10"/>
          <a:stretch>
            <a:fillRect/>
          </a:stretch>
        </p:blipFill>
        <p:spPr>
          <a:xfrm>
            <a:off x="3498850" y="2628512"/>
            <a:ext cx="2376488" cy="4219575"/>
          </a:xfrm>
          <a:prstGeom prst="rect">
            <a:avLst/>
          </a:prstGeom>
        </p:spPr>
      </p:pic>
    </p:spTree>
    <p:extLst>
      <p:ext uri="{BB962C8B-B14F-4D97-AF65-F5344CB8AC3E}">
        <p14:creationId xmlns:p14="http://schemas.microsoft.com/office/powerpoint/2010/main" val="1728509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35"/>
                                        </p:tgtEl>
                                        <p:attrNameLst>
                                          <p:attrName>style.visibility</p:attrName>
                                        </p:attrNameLst>
                                      </p:cBhvr>
                                      <p:to>
                                        <p:strVal val="visible"/>
                                      </p:to>
                                    </p:set>
                                    <p:animEffect transition="in" filter="wipe(up)">
                                      <p:cBhvr>
                                        <p:cTn id="12" dur="1000"/>
                                        <p:tgtEl>
                                          <p:spTgt spid="13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33"/>
                                        </p:tgtEl>
                                        <p:attrNameLst>
                                          <p:attrName>style.visibility</p:attrName>
                                        </p:attrNameLst>
                                      </p:cBhvr>
                                      <p:to>
                                        <p:strVal val="visible"/>
                                      </p:to>
                                    </p:set>
                                    <p:animEffect transition="in" filter="wipe(up)">
                                      <p:cBhvr>
                                        <p:cTn id="17" dur="1000"/>
                                        <p:tgtEl>
                                          <p:spTgt spid="133"/>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2"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wipe(right)">
                                      <p:cBhvr>
                                        <p:cTn id="22" dur="10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2"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wipe(right)">
                                      <p:cBhvr>
                                        <p:cTn id="27" dur="1000"/>
                                        <p:tgtEl>
                                          <p:spTgt spid="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1000"/>
                                        <p:tgtEl>
                                          <p:spTgt spid="17"/>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wipe(down)">
                                      <p:cBhvr>
                                        <p:cTn id="37" dur="10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nodeType="clickEffect">
                                  <p:stCondLst>
                                    <p:cond delay="0"/>
                                  </p:stCondLst>
                                  <p:childTnLst>
                                    <p:set>
                                      <p:cBhvr>
                                        <p:cTn id="41" dur="1" fill="hold">
                                          <p:stCondLst>
                                            <p:cond delay="0"/>
                                          </p:stCondLst>
                                        </p:cTn>
                                        <p:tgtEl>
                                          <p:spTgt spid="137"/>
                                        </p:tgtEl>
                                        <p:attrNameLst>
                                          <p:attrName>style.visibility</p:attrName>
                                        </p:attrNameLst>
                                      </p:cBhvr>
                                      <p:to>
                                        <p:strVal val="visible"/>
                                      </p:to>
                                    </p:set>
                                    <p:animEffect transition="in" filter="wipe(down)">
                                      <p:cBhvr>
                                        <p:cTn id="42" dur="1000"/>
                                        <p:tgtEl>
                                          <p:spTgt spid="137"/>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09"/>
                                        </p:tgtEl>
                                        <p:attrNameLst>
                                          <p:attrName>style.visibility</p:attrName>
                                        </p:attrNameLst>
                                      </p:cBhvr>
                                      <p:to>
                                        <p:strVal val="visible"/>
                                      </p:to>
                                    </p:set>
                                    <p:animEffect transition="in" filter="fade">
                                      <p:cBhvr>
                                        <p:cTn id="47" dur="1000"/>
                                        <p:tgtEl>
                                          <p:spTgt spid="109"/>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nodeType="click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wipe(left)">
                                      <p:cBhvr>
                                        <p:cTn id="52"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8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2.xml><?xml version="1.0" encoding="utf-8"?>
<a:theme xmlns:a="http://schemas.openxmlformats.org/drawingml/2006/main" name="2_LIGHT GRAY TEMPLATE">
  <a:themeElements>
    <a:clrScheme name="Custom 20">
      <a:dk1>
        <a:srgbClr val="333333"/>
      </a:dk1>
      <a:lt1>
        <a:srgbClr val="FFFFFF"/>
      </a:lt1>
      <a:dk2>
        <a:srgbClr val="333333"/>
      </a:dk2>
      <a:lt2>
        <a:srgbClr val="E6E6E6"/>
      </a:lt2>
      <a:accent1>
        <a:srgbClr val="269AED"/>
      </a:accent1>
      <a:accent2>
        <a:srgbClr val="FFB900"/>
      </a:accent2>
      <a:accent3>
        <a:srgbClr val="F15022"/>
      </a:accent3>
      <a:accent4>
        <a:srgbClr val="63A400"/>
      </a:accent4>
      <a:accent5>
        <a:srgbClr val="FFFFFF"/>
      </a:accent5>
      <a:accent6>
        <a:srgbClr val="1A1A1A"/>
      </a:accent6>
      <a:hlink>
        <a:srgbClr val="0076D3"/>
      </a:hlink>
      <a:folHlink>
        <a:srgbClr val="0078D4"/>
      </a:folHlink>
    </a:clrScheme>
    <a:fontScheme name="Custom 3">
      <a:majorFont>
        <a:latin typeface="Segoe Pro Display"/>
        <a:ea typeface=""/>
        <a:cs typeface=""/>
      </a:majorFont>
      <a:minorFont>
        <a:latin typeface="Segoe Pro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8A8728A-1399-4730-8B79-4E840462A9E6}" vid="{86913031-2664-43C4-ADAB-5888F3782CAB}"/>
    </a:ext>
  </a:extLst>
</a:theme>
</file>

<file path=ppt/theme/theme13.xml><?xml version="1.0" encoding="utf-8"?>
<a:theme xmlns:a="http://schemas.openxmlformats.org/drawingml/2006/main" name="1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14.xml><?xml version="1.0" encoding="utf-8"?>
<a:theme xmlns:a="http://schemas.openxmlformats.org/drawingml/2006/main" name="3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6.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7.xml><?xml version="1.0" encoding="utf-8"?>
<a:theme xmlns:a="http://schemas.openxmlformats.org/drawingml/2006/main" name="1_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8.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9.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C5575CCBC9B24390E837B6C4C8E9B3" ma:contentTypeVersion="15" ma:contentTypeDescription="Create a new document." ma:contentTypeScope="" ma:versionID="14919accd032ef547d99e2810f1f8405">
  <xsd:schema xmlns:xsd="http://www.w3.org/2001/XMLSchema" xmlns:xs="http://www.w3.org/2001/XMLSchema" xmlns:p="http://schemas.microsoft.com/office/2006/metadata/properties" xmlns:ns1="http://schemas.microsoft.com/sharepoint/v3" xmlns:ns3="e94bc8a8-58ed-427a-9b77-9fee66e26b45" xmlns:ns4="fedf6241-4939-4e1b-b590-33dfacd534c5" targetNamespace="http://schemas.microsoft.com/office/2006/metadata/properties" ma:root="true" ma:fieldsID="ed01efb8163a9526002ec37cd3dc9756" ns1:_="" ns3:_="" ns4:_="">
    <xsd:import namespace="http://schemas.microsoft.com/sharepoint/v3"/>
    <xsd:import namespace="e94bc8a8-58ed-427a-9b77-9fee66e26b45"/>
    <xsd:import namespace="fedf6241-4939-4e1b-b590-33dfacd534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4bc8a8-58ed-427a-9b77-9fee66e26b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df6241-4939-4e1b-b590-33dfacd534c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fedf6241-4939-4e1b-b590-33dfacd534c5">
      <UserInfo>
        <DisplayName>Amit Bhatia</DisplayName>
        <AccountId>7</AccountId>
        <AccountType/>
      </UserInfo>
      <UserInfo>
        <DisplayName>Ryan Compton</DisplayName>
        <AccountId>20</AccountId>
        <AccountType/>
      </UserInfo>
      <UserInfo>
        <DisplayName>Dasha Zenkovich</DisplayName>
        <AccountId>115</AccountId>
        <AccountType/>
      </UserInfo>
    </SharedWithUsers>
    <MediaServiceKeyPoints xmlns="e94bc8a8-58ed-427a-9b77-9fee66e26b45" xsi:nil="true"/>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AD0064A-0D8C-40C2-ACEE-6D5DCCD159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bc8a8-58ed-427a-9b77-9fee66e26b45"/>
    <ds:schemaRef ds:uri="fedf6241-4939-4e1b-b590-33dfacd534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77E504-449D-486E-B40C-9D5B5C1749A2}">
  <ds:schemaRefs>
    <ds:schemaRef ds:uri="http://purl.org/dc/elements/1.1/"/>
    <ds:schemaRef ds:uri="http://schemas.openxmlformats.org/package/2006/metadata/core-properties"/>
    <ds:schemaRef ds:uri="http://schemas.microsoft.com/office/2006/metadata/properties"/>
    <ds:schemaRef ds:uri="http://schemas.microsoft.com/office/infopath/2007/PartnerControls"/>
    <ds:schemaRef ds:uri="http://schemas.microsoft.com/sharepoint/v3"/>
    <ds:schemaRef ds:uri="http://www.w3.org/XML/1998/namespace"/>
    <ds:schemaRef ds:uri="http://schemas.microsoft.com/office/2006/documentManagement/types"/>
    <ds:schemaRef ds:uri="e94bc8a8-58ed-427a-9b77-9fee66e26b45"/>
    <ds:schemaRef ds:uri="fedf6241-4939-4e1b-b590-33dfacd534c5"/>
    <ds:schemaRef ds:uri="http://purl.org/dc/dcmitype/"/>
    <ds:schemaRef ds:uri="http://purl.org/dc/terms/"/>
  </ds:schemaRefs>
</ds:datastoreItem>
</file>

<file path=customXml/itemProps3.xml><?xml version="1.0" encoding="utf-8"?>
<ds:datastoreItem xmlns:ds="http://schemas.openxmlformats.org/officeDocument/2006/customXml" ds:itemID="{91086DBB-BE68-4DC9-83A2-9352A4ACE6BF}">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852</Words>
  <Application>Microsoft Office PowerPoint</Application>
  <PresentationFormat>Widescreen</PresentationFormat>
  <Paragraphs>202</Paragraphs>
  <Slides>19</Slides>
  <Notes>9</Notes>
  <HiddenSlides>0</HiddenSlides>
  <MMClips>0</MMClips>
  <ScaleCrop>false</ScaleCrop>
  <HeadingPairs>
    <vt:vector size="8" baseType="variant">
      <vt:variant>
        <vt:lpstr>Fonts Used</vt:lpstr>
      </vt:variant>
      <vt:variant>
        <vt:i4>11</vt:i4>
      </vt:variant>
      <vt:variant>
        <vt:lpstr>Theme</vt:lpstr>
      </vt:variant>
      <vt:variant>
        <vt:i4>14</vt:i4>
      </vt:variant>
      <vt:variant>
        <vt:lpstr>Embedded OLE Servers</vt:lpstr>
      </vt:variant>
      <vt:variant>
        <vt:i4>1</vt:i4>
      </vt:variant>
      <vt:variant>
        <vt:lpstr>Slide Titles</vt:lpstr>
      </vt:variant>
      <vt:variant>
        <vt:i4>19</vt:i4>
      </vt:variant>
    </vt:vector>
  </HeadingPairs>
  <TitlesOfParts>
    <vt:vector size="45" baseType="lpstr">
      <vt:lpstr>Arial</vt:lpstr>
      <vt:lpstr>Calibri</vt:lpstr>
      <vt:lpstr>Consolas</vt:lpstr>
      <vt:lpstr>Roboto Light</vt:lpstr>
      <vt:lpstr>Segoe Pro</vt:lpstr>
      <vt:lpstr>Segoe Pro Display</vt:lpstr>
      <vt:lpstr>Segoe UI</vt:lpstr>
      <vt:lpstr>Segoe UI Light</vt:lpstr>
      <vt:lpstr>Segoe UI Semibold</vt:lpstr>
      <vt:lpstr>Segoe UI Semilight</vt:lpstr>
      <vt:lpstr>Wingdings</vt:lpstr>
      <vt:lpstr>Microsoft 365 PPT Template - 2018</vt:lpstr>
      <vt:lpstr>White Template</vt:lpstr>
      <vt:lpstr>Microsoft 365 PPT Template - 2018</vt:lpstr>
      <vt:lpstr>Microsoft 365 PPT Template - 2018</vt:lpstr>
      <vt:lpstr>Microsoft Security template</vt:lpstr>
      <vt:lpstr>7_White Template</vt:lpstr>
      <vt:lpstr>1_USE THIS ONE_Microsoft Security template</vt:lpstr>
      <vt:lpstr>2_Microsoft Security template</vt:lpstr>
      <vt:lpstr>1_Thème Office</vt:lpstr>
      <vt:lpstr>8_Microsoft 365 PPT Template - 2018</vt:lpstr>
      <vt:lpstr>2_Microsoft 365 PPT Template - 2018</vt:lpstr>
      <vt:lpstr>2_LIGHT GRAY TEMPLATE</vt:lpstr>
      <vt:lpstr>1_White Template</vt:lpstr>
      <vt:lpstr>3_Microsoft Security template</vt:lpstr>
      <vt:lpstr>think-cell Slide</vt:lpstr>
      <vt:lpstr>Vision Diagrams Series Data Lifecycle Management &amp; Records Management</vt:lpstr>
      <vt:lpstr>Vi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tention Rules + Deletion Rules</vt:lpstr>
      <vt:lpstr>Define Your Strategy</vt:lpstr>
      <vt:lpstr>PowerPoint Presentation</vt:lpstr>
      <vt:lpstr>PowerPoint Presentation</vt:lpstr>
      <vt:lpstr>Vision Diagrams Series Data Lifecycle Management &amp; Records Management</vt:lpstr>
      <vt:lpstr>PowerPoint Presentation</vt:lpstr>
      <vt:lpstr>Retention Features in E3 and E5</vt:lpstr>
      <vt:lpstr>Retention with E3 </vt:lpstr>
      <vt:lpstr>Specific to E5</vt:lpstr>
      <vt:lpstr>Additional Roadmap Ele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Compliance Intelligent compliance and risk management solutions</dc:title>
  <dc:creator/>
  <cp:lastModifiedBy/>
  <cp:revision>4</cp:revision>
  <dcterms:modified xsi:type="dcterms:W3CDTF">2022-07-05T08:40: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C5575CCBC9B24390E837B6C4C8E9B3</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10-29T18:24:21.8549494Z</vt:lpwstr>
  </property>
  <property fmtid="{D5CDD505-2E9C-101B-9397-08002B2CF9AE}" pid="6" name="MSIP_Label_f42aa342-8706-4288-bd11-ebb85995028c_Name">
    <vt:lpwstr>General</vt:lpwstr>
  </property>
  <property fmtid="{D5CDD505-2E9C-101B-9397-08002B2CF9AE}" pid="7" name="MSIP_Label_f42aa342-8706-4288-bd11-ebb85995028c_ActionId">
    <vt:lpwstr>9fe11148-5bce-41ab-969e-27313181932b</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